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3" ContentType="audio/mpeg"/>
  <Default Extension="mp4" ContentType="vide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omments/modernComment_100_DB04D684.xml" ContentType="application/vnd.ms-powerpoint.comment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51" r:id="rId4"/>
  </p:sldMasterIdLst>
  <p:notesMasterIdLst>
    <p:notesMasterId r:id="rId30"/>
  </p:notesMasterIdLst>
  <p:handoutMasterIdLst>
    <p:handoutMasterId r:id="rId31"/>
  </p:handoutMasterIdLst>
  <p:sldIdLst>
    <p:sldId id="516" r:id="rId5"/>
    <p:sldId id="561" r:id="rId6"/>
    <p:sldId id="567" r:id="rId7"/>
    <p:sldId id="259" r:id="rId8"/>
    <p:sldId id="306" r:id="rId9"/>
    <p:sldId id="307" r:id="rId10"/>
    <p:sldId id="305" r:id="rId11"/>
    <p:sldId id="2147481391" r:id="rId12"/>
    <p:sldId id="2147481389" r:id="rId13"/>
    <p:sldId id="270" r:id="rId14"/>
    <p:sldId id="256" r:id="rId15"/>
    <p:sldId id="261" r:id="rId16"/>
    <p:sldId id="2147481392" r:id="rId17"/>
    <p:sldId id="2147481390" r:id="rId18"/>
    <p:sldId id="565" r:id="rId19"/>
    <p:sldId id="2147481393" r:id="rId20"/>
    <p:sldId id="566" r:id="rId21"/>
    <p:sldId id="2147481394" r:id="rId22"/>
    <p:sldId id="569" r:id="rId23"/>
    <p:sldId id="563" r:id="rId24"/>
    <p:sldId id="562" r:id="rId25"/>
    <p:sldId id="1182" r:id="rId26"/>
    <p:sldId id="1205" r:id="rId27"/>
    <p:sldId id="1204" r:id="rId28"/>
    <p:sldId id="1199" r:id="rId29"/>
  </p:sldIdLst>
  <p:sldSz cx="12192000" cy="6858000"/>
  <p:notesSz cx="6858000" cy="9144000"/>
  <p:defaultTextStyle>
    <a:defPPr>
      <a:defRPr sz="1800" kern="1200">
        <a:solidFill>
          <a:schemeClr val="tx1"/>
        </a:solidFill>
        <a:latin typeface="+mn-lt"/>
        <a:ea typeface="+mn-ea"/>
        <a:cs typeface="+mn-cs"/>
      </a:defRPr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ZEISS Cover Slides" id="{AB3967D1-0CE5-45BA-8BDD-094738D3837C}">
          <p14:sldIdLst>
            <p14:sldId id="516"/>
            <p14:sldId id="561"/>
            <p14:sldId id="567"/>
            <p14:sldId id="259"/>
            <p14:sldId id="306"/>
            <p14:sldId id="307"/>
            <p14:sldId id="305"/>
            <p14:sldId id="2147481391"/>
            <p14:sldId id="2147481389"/>
            <p14:sldId id="270"/>
            <p14:sldId id="256"/>
            <p14:sldId id="261"/>
            <p14:sldId id="2147481392"/>
            <p14:sldId id="2147481390"/>
            <p14:sldId id="565"/>
            <p14:sldId id="2147481393"/>
            <p14:sldId id="566"/>
            <p14:sldId id="2147481394"/>
            <p14:sldId id="569"/>
            <p14:sldId id="563"/>
            <p14:sldId id="562"/>
            <p14:sldId id="1182"/>
            <p14:sldId id="1205"/>
            <p14:sldId id="1204"/>
            <p14:sldId id="1199"/>
          </p14:sldIdLst>
        </p14:section>
        <p14:section name="Industrial Quality Solutions" id="{4957B59A-50C4-45C4-8F96-65F594A9B440}">
          <p14:sldIdLst/>
        </p14:section>
        <p14:section name="Medical Technology" id="{21404C98-16C5-4551-9E27-88412F81E72B}">
          <p14:sldIdLst/>
        </p14:section>
        <p14:section name="Research Microscopy Solutions" id="{E44F881C-AD20-4F57-98D0-5A025F458E17}">
          <p14:sldIdLst/>
        </p14:section>
        <p14:section name="Semiconductor Manufacturing Technology" id="{BBA319E8-0DBD-49CB-B40E-FC98C30C5C6C}">
          <p14:sldIdLst/>
        </p14:section>
        <p14:section name="Vision Care" id="{BE77E9DA-0983-4F9D-BE90-F9A12AA82292}">
          <p14:sldIdLst/>
        </p14:section>
        <p14:section name="Consumer Products" id="{AEC7664C-E8D8-4C07-8BED-44C58A12023C}">
          <p14:sldIdLst/>
        </p14:section>
        <p14:section name="Corporate Social Responsibility" id="{B1DF4E67-E516-4CC0-8C30-2D2428271A68}">
          <p14:sldIdLst/>
        </p14:section>
        <p14:section name="Research" id="{86A9D550-1BEE-4375-8803-164AB9A35E36}">
          <p14:sldIdLst/>
        </p14:section>
        <p14:section name="Shared Production Unit" id="{27B55560-516F-44FE-8835-76F9711D297D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C333631-0E7F-43CB-BE33-6486D448F636}" name="Hoyle, Ben" initials="" userId="S::ben.hoyle@zeiss.com::986671f7-5fe5-4614-a770-7c92854a2d5a" providerId="AD"/>
  <p188:author id="{4B7616D6-316B-D334-19BE-DBBFC674DCCF}" name="Lamla-Dietrich, Bettina" initials="LB" userId="S::bettina.lamla@zeiss.com::0a87cebb-1be9-4e93-b976-2a21d92225a6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reitweg, Carola" initials="BC" lastIdx="5" clrIdx="0">
    <p:extLst>
      <p:ext uri="{19B8F6BF-5375-455C-9EA6-DF929625EA0E}">
        <p15:presenceInfo xmlns:p15="http://schemas.microsoft.com/office/powerpoint/2012/main" userId="S::carola.breitweg@zeiss.com::604eba1e-539d-4c52-8945-1e2ef154693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3F1FC"/>
    <a:srgbClr val="C6E0F7"/>
    <a:srgbClr val="D0D0D0"/>
    <a:srgbClr val="8A8A8A"/>
    <a:srgbClr val="BABABA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986" autoAdjust="0"/>
    <p:restoredTop sz="94660"/>
  </p:normalViewPr>
  <p:slideViewPr>
    <p:cSldViewPr snapToGrid="0">
      <p:cViewPr>
        <p:scale>
          <a:sx n="115" d="100"/>
          <a:sy n="115" d="100"/>
        </p:scale>
        <p:origin x="864" y="2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commentAuthors" Target="commentAuthors.xml"/><Relationship Id="rId37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comments/modernComment_100_DB04D684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BD00D5EB-6181-C34B-94E4-0F8209BBFF46}" authorId="{5C333631-0E7F-43CB-BE33-6486D448F636}" status="resolved" created="2025-05-23T08:16:41.910">
    <pc:sldMkLst xmlns:pc="http://schemas.microsoft.com/office/powerpoint/2013/main/command">
      <pc:docMk/>
      <pc:sldMk cId="3674527364" sldId="256"/>
    </pc:sldMkLst>
    <p188:replyLst>
      <p188:reply id="{4B2C4D92-3AD7-4A89-9A77-E8DCC025965D}" authorId="{4B7616D6-316B-D334-19BE-DBBFC674DCCF}" created="2025-05-23T08:20:07.511">
        <p188:txBody>
          <a:bodyPr/>
          <a:lstStyle/>
          <a:p>
            <a:r>
              <a:rPr lang="de-DE"/>
              <a:t>fun. add the distance in km  on the map</a:t>
            </a:r>
          </a:p>
        </p188:txBody>
        <p188:extLst>
          <p:ext xmlns:p="http://schemas.openxmlformats.org/presentationml/2006/main" uri="{57CB4572-C831-44C2-8A1C-0ADB6CCDFE69}">
            <p223:reactions xmlns:p223="http://schemas.microsoft.com/office/powerpoint/2022/03/main">
              <p223:rxn type="👍">
                <p223:instance time="2025-05-23T12:24:53.279" authorId="{5C333631-0E7F-43CB-BE33-6486D448F636}"/>
              </p223:rxn>
            </p223:reactions>
          </p:ext>
        </p188:extLst>
      </p188:reply>
    </p188:replyLst>
    <p188:txBody>
      <a:bodyPr/>
      <a:lstStyle/>
      <a:p>
        <a:r>
          <a:rPr lang="en-DE"/>
          <a:t>[@Lamla-Dietrich, Bettina] — check out this slide :D</a:t>
        </a:r>
      </a:p>
    </p188:txBody>
  </p188:cm>
</p188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88D5286F-F46C-4E2C-97AF-6B45DE4CB21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066E692-6480-48CC-8BCD-A7DF5C1F696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FEB490-C5F1-4FE5-B523-7E2A854CD119}" type="datetimeFigureOut">
              <a:rPr lang="de-DE" smtClean="0"/>
              <a:t>04.06.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458393A-9752-4A74-9877-37793712D68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B2DF026-F42B-4782-9457-5E48B4742A2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0F6C2D2-50ED-4FF1-94DB-86311ACB8CA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127807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9ECEF2B-B444-4E6C-B710-FDFA372E266A}" type="datetimeFigureOut">
              <a:rPr lang="de-DE" smtClean="0"/>
              <a:t>04.06.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BB7BD1D-57F2-4AA2-9428-BF308BAFC728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15868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 | Externa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292093E-44AE-4A88-A4CB-D23B1DD324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8319" y="642855"/>
            <a:ext cx="7228674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ZEISS Frutiger Next W1G" panose="020B0503040204020203" pitchFamily="34" charset="0"/>
              </a:defRPr>
            </a:lvl1pPr>
          </a:lstStyle>
          <a:p>
            <a:pPr lvl="0"/>
            <a:r>
              <a:rPr lang="en-US" noProof="0" dirty="0"/>
              <a:t>Edit master text format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294FA502-C1DC-4873-B743-6261A6D4B7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9" y="299633"/>
            <a:ext cx="7228674" cy="369332"/>
          </a:xfrm>
        </p:spPr>
        <p:txBody>
          <a:bodyPr/>
          <a:lstStyle/>
          <a:p>
            <a:r>
              <a:rPr lang="en-US" noProof="0" dirty="0"/>
              <a:t>Edit Master Cover Format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D2196AA1-313D-4990-8CC0-383A233A263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2351880"/>
            <a:ext cx="12192000" cy="4506119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en-US" noProof="0"/>
              <a:t> </a:t>
            </a:r>
          </a:p>
        </p:txBody>
      </p:sp>
      <p:cxnSp>
        <p:nvCxnSpPr>
          <p:cNvPr id="13" name="Gerade Verbindung 22">
            <a:extLst>
              <a:ext uri="{FF2B5EF4-FFF2-40B4-BE49-F238E27FC236}">
                <a16:creationId xmlns:a16="http://schemas.microsoft.com/office/drawing/2014/main" id="{1E2BE177-B8AE-4CA3-8B0C-241AD815C55F}"/>
              </a:ext>
            </a:extLst>
          </p:cNvPr>
          <p:cNvCxnSpPr>
            <a:cxnSpLocks/>
          </p:cNvCxnSpPr>
          <p:nvPr/>
        </p:nvCxnSpPr>
        <p:spPr>
          <a:xfrm>
            <a:off x="8512714" y="0"/>
            <a:ext cx="0" cy="1308100"/>
          </a:xfrm>
          <a:prstGeom prst="line">
            <a:avLst/>
          </a:prstGeom>
          <a:ln w="6350">
            <a:solidFill>
              <a:srgbClr val="DCE3E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35">
            <a:extLst>
              <a:ext uri="{FF2B5EF4-FFF2-40B4-BE49-F238E27FC236}">
                <a16:creationId xmlns:a16="http://schemas.microsoft.com/office/drawing/2014/main" id="{9A76B5C1-E9F7-44AB-B776-CC664C7A0794}"/>
              </a:ext>
            </a:extLst>
          </p:cNvPr>
          <p:cNvCxnSpPr>
            <a:cxnSpLocks/>
          </p:cNvCxnSpPr>
          <p:nvPr/>
        </p:nvCxnSpPr>
        <p:spPr>
          <a:xfrm>
            <a:off x="8512714" y="1632585"/>
            <a:ext cx="0" cy="432088"/>
          </a:xfrm>
          <a:prstGeom prst="line">
            <a:avLst/>
          </a:prstGeom>
          <a:ln w="6350">
            <a:solidFill>
              <a:srgbClr val="DCE3E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57DAACFA-7C59-48D1-9F81-779220D25C6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711763" y="642855"/>
            <a:ext cx="1524435" cy="55399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200">
                <a:solidFill>
                  <a:srgbClr val="8A8A8A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Autho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B41D90C-6B47-423A-B199-5AEB724B999E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8711762" y="1756296"/>
            <a:ext cx="1166986" cy="184666"/>
          </a:xfrm>
        </p:spPr>
        <p:txBody>
          <a:bodyPr vert="horz" wrap="none" lIns="0" tIns="0" rIns="0" bIns="0" rtlCol="0" anchor="t" anchorCtr="0">
            <a:spAutoFit/>
          </a:bodyPr>
          <a:lstStyle>
            <a:lvl1pPr>
              <a:defRPr lang="en-US" sz="1200" smtClean="0">
                <a:solidFill>
                  <a:srgbClr val="8A8A8A"/>
                </a:solidFill>
                <a:cs typeface="+mn-cs"/>
              </a:defRPr>
            </a:lvl1pPr>
          </a:lstStyle>
          <a:p>
            <a:pPr>
              <a:buFont typeface="Arial" panose="020B0604020202020204" pitchFamily="34" charset="0"/>
              <a:buNone/>
            </a:pPr>
            <a:fld id="{E80AF3DD-06B6-4A4B-B455-8ACC98F08539}" type="datetime3">
              <a:rPr lang="de-DE" smtClean="0"/>
              <a:pPr>
                <a:buFont typeface="Arial" panose="020B0604020202020204" pitchFamily="34" charset="0"/>
                <a:buNone/>
              </a:pPr>
              <a:t>04/06/2025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B7DAED84-C423-5816-3450-DF57E2AEA686}"/>
              </a:ext>
            </a:extLst>
          </p:cNvPr>
          <p:cNvGrpSpPr/>
          <p:nvPr/>
        </p:nvGrpSpPr>
        <p:grpSpPr>
          <a:xfrm>
            <a:off x="304116" y="-697714"/>
            <a:ext cx="11370764" cy="411957"/>
            <a:chOff x="304116" y="6944502"/>
            <a:chExt cx="11370764" cy="411957"/>
          </a:xfrm>
        </p:grpSpPr>
        <p:grpSp>
          <p:nvGrpSpPr>
            <p:cNvPr id="4" name="Gruppieren 3">
              <a:extLst>
                <a:ext uri="{FF2B5EF4-FFF2-40B4-BE49-F238E27FC236}">
                  <a16:creationId xmlns:a16="http://schemas.microsoft.com/office/drawing/2014/main" id="{6EE518F4-B04A-0051-800B-937E74CB0855}"/>
                </a:ext>
              </a:extLst>
            </p:cNvPr>
            <p:cNvGrpSpPr/>
            <p:nvPr/>
          </p:nvGrpSpPr>
          <p:grpSpPr>
            <a:xfrm rot="16200000">
              <a:off x="204049" y="7044570"/>
              <a:ext cx="411956" cy="211821"/>
              <a:chOff x="-615197" y="4299854"/>
              <a:chExt cx="411956" cy="211821"/>
            </a:xfrm>
          </p:grpSpPr>
          <p:cxnSp>
            <p:nvCxnSpPr>
              <p:cNvPr id="21" name="Gerader Verbinder 20">
                <a:extLst>
                  <a:ext uri="{FF2B5EF4-FFF2-40B4-BE49-F238E27FC236}">
                    <a16:creationId xmlns:a16="http://schemas.microsoft.com/office/drawing/2014/main" id="{1B518072-A10D-1F71-D0E1-91E5AF64AD5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2" name="Textfeld 21">
                <a:extLst>
                  <a:ext uri="{FF2B5EF4-FFF2-40B4-BE49-F238E27FC236}">
                    <a16:creationId xmlns:a16="http://schemas.microsoft.com/office/drawing/2014/main" id="{2981E24D-65A0-D83F-58FE-A1AA4A2A6D96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15.50</a:t>
                </a:r>
              </a:p>
            </p:txBody>
          </p:sp>
        </p:grpSp>
        <p:grpSp>
          <p:nvGrpSpPr>
            <p:cNvPr id="5" name="Gruppieren 4">
              <a:extLst>
                <a:ext uri="{FF2B5EF4-FFF2-40B4-BE49-F238E27FC236}">
                  <a16:creationId xmlns:a16="http://schemas.microsoft.com/office/drawing/2014/main" id="{090E5B61-C900-3272-3D6C-42478725D325}"/>
                </a:ext>
              </a:extLst>
            </p:cNvPr>
            <p:cNvGrpSpPr/>
            <p:nvPr/>
          </p:nvGrpSpPr>
          <p:grpSpPr>
            <a:xfrm rot="16200000">
              <a:off x="5639649" y="7044570"/>
              <a:ext cx="411956" cy="211821"/>
              <a:chOff x="-615197" y="4299854"/>
              <a:chExt cx="411956" cy="211821"/>
            </a:xfrm>
          </p:grpSpPr>
          <p:cxnSp>
            <p:nvCxnSpPr>
              <p:cNvPr id="19" name="Gerader Verbinder 18">
                <a:extLst>
                  <a:ext uri="{FF2B5EF4-FFF2-40B4-BE49-F238E27FC236}">
                    <a16:creationId xmlns:a16="http://schemas.microsoft.com/office/drawing/2014/main" id="{FE11BE0F-2B65-EC22-7B0B-FE84ABDF8E0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0" name="Textfeld 19">
                <a:extLst>
                  <a:ext uri="{FF2B5EF4-FFF2-40B4-BE49-F238E27FC236}">
                    <a16:creationId xmlns:a16="http://schemas.microsoft.com/office/drawing/2014/main" id="{77B4CD09-1FF4-E56F-62C6-10981BFDF452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0.40</a:t>
                </a:r>
              </a:p>
            </p:txBody>
          </p:sp>
        </p:grpSp>
        <p:grpSp>
          <p:nvGrpSpPr>
            <p:cNvPr id="6" name="Gruppieren 5">
              <a:extLst>
                <a:ext uri="{FF2B5EF4-FFF2-40B4-BE49-F238E27FC236}">
                  <a16:creationId xmlns:a16="http://schemas.microsoft.com/office/drawing/2014/main" id="{86099128-E21B-EDEF-F0C2-783DAB3289A1}"/>
                </a:ext>
              </a:extLst>
            </p:cNvPr>
            <p:cNvGrpSpPr/>
            <p:nvPr/>
          </p:nvGrpSpPr>
          <p:grpSpPr>
            <a:xfrm rot="5400000">
              <a:off x="6093326" y="7046990"/>
              <a:ext cx="411956" cy="206980"/>
              <a:chOff x="-615197" y="4350961"/>
              <a:chExt cx="411956" cy="206980"/>
            </a:xfrm>
          </p:grpSpPr>
          <p:cxnSp>
            <p:nvCxnSpPr>
              <p:cNvPr id="17" name="Gerader Verbinder 16">
                <a:extLst>
                  <a:ext uri="{FF2B5EF4-FFF2-40B4-BE49-F238E27FC236}">
                    <a16:creationId xmlns:a16="http://schemas.microsoft.com/office/drawing/2014/main" id="{71F7F663-884E-79B2-522F-E3C38A1AFAA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" name="Textfeld 17">
                <a:extLst>
                  <a:ext uri="{FF2B5EF4-FFF2-40B4-BE49-F238E27FC236}">
                    <a16:creationId xmlns:a16="http://schemas.microsoft.com/office/drawing/2014/main" id="{6BC89292-7E44-7643-04FB-A2AB86B199EA}"/>
                  </a:ext>
                </a:extLst>
              </p:cNvPr>
              <p:cNvSpPr txBox="1"/>
              <p:nvPr/>
            </p:nvSpPr>
            <p:spPr>
              <a:xfrm rot="10800000">
                <a:off x="-615197" y="4350961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0.40</a:t>
                </a:r>
              </a:p>
            </p:txBody>
          </p:sp>
        </p:grp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49F97C5E-8D91-8998-55DF-3D70B9680CBA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5890022" y="7150480"/>
              <a:ext cx="411956" cy="0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" name="Gruppieren 7">
              <a:extLst>
                <a:ext uri="{FF2B5EF4-FFF2-40B4-BE49-F238E27FC236}">
                  <a16:creationId xmlns:a16="http://schemas.microsoft.com/office/drawing/2014/main" id="{5E8A06CD-7BBE-365B-DBA7-BF13573AF568}"/>
                </a:ext>
              </a:extLst>
            </p:cNvPr>
            <p:cNvGrpSpPr/>
            <p:nvPr/>
          </p:nvGrpSpPr>
          <p:grpSpPr>
            <a:xfrm rot="16200000">
              <a:off x="11362992" y="7044570"/>
              <a:ext cx="411956" cy="211821"/>
              <a:chOff x="-615197" y="4299854"/>
              <a:chExt cx="411956" cy="211821"/>
            </a:xfrm>
          </p:grpSpPr>
          <p:cxnSp>
            <p:nvCxnSpPr>
              <p:cNvPr id="11" name="Gerader Verbinder 10">
                <a:extLst>
                  <a:ext uri="{FF2B5EF4-FFF2-40B4-BE49-F238E27FC236}">
                    <a16:creationId xmlns:a16="http://schemas.microsoft.com/office/drawing/2014/main" id="{CB10219D-FCEE-E2C8-EE53-A1E0D55FFE3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14736173-4C83-8A7A-88F5-D59FBCC0F991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15.50</a:t>
                </a:r>
              </a:p>
            </p:txBody>
          </p:sp>
        </p:grpSp>
      </p:grp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AA325709-1A09-5127-5EAC-6A222BE55405}"/>
              </a:ext>
            </a:extLst>
          </p:cNvPr>
          <p:cNvGrpSpPr/>
          <p:nvPr/>
        </p:nvGrpSpPr>
        <p:grpSpPr>
          <a:xfrm>
            <a:off x="-697714" y="80201"/>
            <a:ext cx="411956" cy="6720119"/>
            <a:chOff x="-502267" y="80201"/>
            <a:chExt cx="411956" cy="6720119"/>
          </a:xfrm>
        </p:grpSpPr>
        <p:grpSp>
          <p:nvGrpSpPr>
            <p:cNvPr id="24" name="Gruppieren 23">
              <a:extLst>
                <a:ext uri="{FF2B5EF4-FFF2-40B4-BE49-F238E27FC236}">
                  <a16:creationId xmlns:a16="http://schemas.microsoft.com/office/drawing/2014/main" id="{96AE9DC1-362D-F301-A2E6-223D1808FBC3}"/>
                </a:ext>
              </a:extLst>
            </p:cNvPr>
            <p:cNvGrpSpPr/>
            <p:nvPr/>
          </p:nvGrpSpPr>
          <p:grpSpPr>
            <a:xfrm>
              <a:off x="-502267" y="6593340"/>
              <a:ext cx="411956" cy="206980"/>
              <a:chOff x="-615197" y="4452994"/>
              <a:chExt cx="411956" cy="206980"/>
            </a:xfrm>
          </p:grpSpPr>
          <p:sp>
            <p:nvSpPr>
              <p:cNvPr id="40" name="Textfeld 39">
                <a:extLst>
                  <a:ext uri="{FF2B5EF4-FFF2-40B4-BE49-F238E27FC236}">
                    <a16:creationId xmlns:a16="http://schemas.microsoft.com/office/drawing/2014/main" id="{9079CF85-9E96-B54F-04C4-798F35B0C0EF}"/>
                  </a:ext>
                </a:extLst>
              </p:cNvPr>
              <p:cNvSpPr txBox="1"/>
              <p:nvPr/>
            </p:nvSpPr>
            <p:spPr>
              <a:xfrm>
                <a:off x="-615197" y="445299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8.92</a:t>
                </a:r>
              </a:p>
            </p:txBody>
          </p:sp>
          <p:cxnSp>
            <p:nvCxnSpPr>
              <p:cNvPr id="41" name="Gerader Verbinder 40">
                <a:extLst>
                  <a:ext uri="{FF2B5EF4-FFF2-40B4-BE49-F238E27FC236}">
                    <a16:creationId xmlns:a16="http://schemas.microsoft.com/office/drawing/2014/main" id="{CF1B461D-113D-00D0-DD99-32AFEFC37CD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97389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uppieren 24">
              <a:extLst>
                <a:ext uri="{FF2B5EF4-FFF2-40B4-BE49-F238E27FC236}">
                  <a16:creationId xmlns:a16="http://schemas.microsoft.com/office/drawing/2014/main" id="{978DACFA-5E86-E9EB-E82E-A20B3AAEF6B2}"/>
                </a:ext>
              </a:extLst>
            </p:cNvPr>
            <p:cNvGrpSpPr/>
            <p:nvPr/>
          </p:nvGrpSpPr>
          <p:grpSpPr>
            <a:xfrm>
              <a:off x="-502267" y="5876163"/>
              <a:ext cx="411956" cy="216662"/>
              <a:chOff x="-615197" y="4295013"/>
              <a:chExt cx="411956" cy="216662"/>
            </a:xfrm>
          </p:grpSpPr>
          <p:cxnSp>
            <p:nvCxnSpPr>
              <p:cNvPr id="38" name="Gerader Verbinder 37">
                <a:extLst>
                  <a:ext uri="{FF2B5EF4-FFF2-40B4-BE49-F238E27FC236}">
                    <a16:creationId xmlns:a16="http://schemas.microsoft.com/office/drawing/2014/main" id="{4921A999-40A5-9F1D-4BE2-A364C53AADC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9" name="Textfeld 38">
                <a:extLst>
                  <a:ext uri="{FF2B5EF4-FFF2-40B4-BE49-F238E27FC236}">
                    <a16:creationId xmlns:a16="http://schemas.microsoft.com/office/drawing/2014/main" id="{50EE7C74-4247-F4FC-60A9-87B854C72314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7.40</a:t>
                </a:r>
              </a:p>
            </p:txBody>
          </p:sp>
        </p:grpSp>
        <p:grpSp>
          <p:nvGrpSpPr>
            <p:cNvPr id="26" name="Gruppieren 25">
              <a:extLst>
                <a:ext uri="{FF2B5EF4-FFF2-40B4-BE49-F238E27FC236}">
                  <a16:creationId xmlns:a16="http://schemas.microsoft.com/office/drawing/2014/main" id="{B6C8AFA3-2266-73BC-1CE0-90C21747BAB1}"/>
                </a:ext>
              </a:extLst>
            </p:cNvPr>
            <p:cNvGrpSpPr/>
            <p:nvPr/>
          </p:nvGrpSpPr>
          <p:grpSpPr>
            <a:xfrm>
              <a:off x="-502267" y="3212338"/>
              <a:ext cx="411956" cy="216662"/>
              <a:chOff x="-615197" y="4295013"/>
              <a:chExt cx="411956" cy="216662"/>
            </a:xfrm>
          </p:grpSpPr>
          <p:cxnSp>
            <p:nvCxnSpPr>
              <p:cNvPr id="36" name="Gerader Verbinder 35">
                <a:extLst>
                  <a:ext uri="{FF2B5EF4-FFF2-40B4-BE49-F238E27FC236}">
                    <a16:creationId xmlns:a16="http://schemas.microsoft.com/office/drawing/2014/main" id="{B81CAF0D-6718-434E-F65E-7DF9F717F9E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7" name="Textfeld 36">
                <a:extLst>
                  <a:ext uri="{FF2B5EF4-FFF2-40B4-BE49-F238E27FC236}">
                    <a16:creationId xmlns:a16="http://schemas.microsoft.com/office/drawing/2014/main" id="{F6421F12-7A34-8DC5-135E-D9B3835877BA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0.00</a:t>
                </a:r>
              </a:p>
            </p:txBody>
          </p:sp>
        </p:grpSp>
        <p:grpSp>
          <p:nvGrpSpPr>
            <p:cNvPr id="27" name="Gruppieren 26">
              <a:extLst>
                <a:ext uri="{FF2B5EF4-FFF2-40B4-BE49-F238E27FC236}">
                  <a16:creationId xmlns:a16="http://schemas.microsoft.com/office/drawing/2014/main" id="{2742E616-A2E4-9259-F53A-46324273E6C4}"/>
                </a:ext>
              </a:extLst>
            </p:cNvPr>
            <p:cNvGrpSpPr/>
            <p:nvPr/>
          </p:nvGrpSpPr>
          <p:grpSpPr>
            <a:xfrm>
              <a:off x="-502267" y="835851"/>
              <a:ext cx="411956" cy="216662"/>
              <a:chOff x="-615197" y="4295013"/>
              <a:chExt cx="411956" cy="216662"/>
            </a:xfrm>
          </p:grpSpPr>
          <p:cxnSp>
            <p:nvCxnSpPr>
              <p:cNvPr id="34" name="Gerader Verbinder 33">
                <a:extLst>
                  <a:ext uri="{FF2B5EF4-FFF2-40B4-BE49-F238E27FC236}">
                    <a16:creationId xmlns:a16="http://schemas.microsoft.com/office/drawing/2014/main" id="{1F19D04B-D22E-56B6-9076-F4D5CF63A78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5" name="Textfeld 34">
                <a:extLst>
                  <a:ext uri="{FF2B5EF4-FFF2-40B4-BE49-F238E27FC236}">
                    <a16:creationId xmlns:a16="http://schemas.microsoft.com/office/drawing/2014/main" id="{CBD3C5F1-506B-4291-8A23-5CAA12604407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6.60</a:t>
                </a:r>
              </a:p>
            </p:txBody>
          </p:sp>
        </p:grpSp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75CF7578-89A4-B59A-6F31-57E7B740F0F4}"/>
                </a:ext>
              </a:extLst>
            </p:cNvPr>
            <p:cNvGrpSpPr/>
            <p:nvPr/>
          </p:nvGrpSpPr>
          <p:grpSpPr>
            <a:xfrm>
              <a:off x="-502267" y="1412113"/>
              <a:ext cx="411956" cy="216662"/>
              <a:chOff x="-615197" y="4295013"/>
              <a:chExt cx="411956" cy="216662"/>
            </a:xfrm>
          </p:grpSpPr>
          <p:cxnSp>
            <p:nvCxnSpPr>
              <p:cNvPr id="32" name="Gerader Verbinder 31">
                <a:extLst>
                  <a:ext uri="{FF2B5EF4-FFF2-40B4-BE49-F238E27FC236}">
                    <a16:creationId xmlns:a16="http://schemas.microsoft.com/office/drawing/2014/main" id="{B7321E08-92DE-F1E5-0772-C7E098D6A79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" name="Textfeld 32">
                <a:extLst>
                  <a:ext uri="{FF2B5EF4-FFF2-40B4-BE49-F238E27FC236}">
                    <a16:creationId xmlns:a16="http://schemas.microsoft.com/office/drawing/2014/main" id="{F5613E37-D2AE-B5BD-5E91-AE60B502EB0F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5.00</a:t>
                </a:r>
              </a:p>
            </p:txBody>
          </p:sp>
        </p:grp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8D7BC5C7-FF52-7A01-70B1-ADCC26B1A65C}"/>
                </a:ext>
              </a:extLst>
            </p:cNvPr>
            <p:cNvGrpSpPr/>
            <p:nvPr/>
          </p:nvGrpSpPr>
          <p:grpSpPr>
            <a:xfrm>
              <a:off x="-502267" y="80201"/>
              <a:ext cx="411956" cy="216662"/>
              <a:chOff x="-615197" y="4258501"/>
              <a:chExt cx="411956" cy="216662"/>
            </a:xfrm>
          </p:grpSpPr>
          <p:cxnSp>
            <p:nvCxnSpPr>
              <p:cNvPr id="30" name="Gerader Verbinder 29">
                <a:extLst>
                  <a:ext uri="{FF2B5EF4-FFF2-40B4-BE49-F238E27FC236}">
                    <a16:creationId xmlns:a16="http://schemas.microsoft.com/office/drawing/2014/main" id="{6952ED09-485A-F72B-DB06-1CDC042F7FA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75163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1" name="Textfeld 30">
                <a:extLst>
                  <a:ext uri="{FF2B5EF4-FFF2-40B4-BE49-F238E27FC236}">
                    <a16:creationId xmlns:a16="http://schemas.microsoft.com/office/drawing/2014/main" id="{3A8A0789-C39C-5B66-3733-9C5057E7BE11}"/>
                  </a:ext>
                </a:extLst>
              </p:cNvPr>
              <p:cNvSpPr txBox="1"/>
              <p:nvPr/>
            </p:nvSpPr>
            <p:spPr>
              <a:xfrm>
                <a:off x="-615197" y="4258501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8.70</a:t>
                </a:r>
              </a:p>
            </p:txBody>
          </p:sp>
        </p:grpSp>
      </p:grp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44FEF486-CCE7-A6BA-2B07-AC526736B9D9}"/>
              </a:ext>
            </a:extLst>
          </p:cNvPr>
          <p:cNvGrpSpPr/>
          <p:nvPr/>
        </p:nvGrpSpPr>
        <p:grpSpPr>
          <a:xfrm>
            <a:off x="11170442" y="299244"/>
            <a:ext cx="505400" cy="505400"/>
            <a:chOff x="5423248" y="2756248"/>
            <a:chExt cx="1349978" cy="1349978"/>
          </a:xfrm>
        </p:grpSpPr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5DCAF635-7699-7246-8BD9-7C060F34C068}"/>
                </a:ext>
              </a:extLst>
            </p:cNvPr>
            <p:cNvSpPr/>
            <p:nvPr/>
          </p:nvSpPr>
          <p:spPr>
            <a:xfrm>
              <a:off x="5423248" y="2756248"/>
              <a:ext cx="1349978" cy="1349978"/>
            </a:xfrm>
            <a:custGeom>
              <a:avLst/>
              <a:gdLst>
                <a:gd name="connsiteX0" fmla="*/ 1349788 w 1349978"/>
                <a:gd name="connsiteY0" fmla="*/ 1349978 h 1349978"/>
                <a:gd name="connsiteX1" fmla="*/ 675037 w 1349978"/>
                <a:gd name="connsiteY1" fmla="*/ 1205389 h 1349978"/>
                <a:gd name="connsiteX2" fmla="*/ 0 w 1349978"/>
                <a:gd name="connsiteY2" fmla="*/ 1349978 h 1349978"/>
                <a:gd name="connsiteX3" fmla="*/ 0 w 1349978"/>
                <a:gd name="connsiteY3" fmla="*/ 0 h 1349978"/>
                <a:gd name="connsiteX4" fmla="*/ 1349978 w 1349978"/>
                <a:gd name="connsiteY4" fmla="*/ 0 h 1349978"/>
                <a:gd name="connsiteX5" fmla="*/ 1349788 w 1349978"/>
                <a:gd name="connsiteY5" fmla="*/ 1349978 h 1349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49978" h="1349978">
                  <a:moveTo>
                    <a:pt x="1349788" y="1349978"/>
                  </a:moveTo>
                  <a:cubicBezTo>
                    <a:pt x="1143953" y="1257110"/>
                    <a:pt x="915543" y="1205389"/>
                    <a:pt x="675037" y="1205389"/>
                  </a:cubicBezTo>
                  <a:cubicBezTo>
                    <a:pt x="434530" y="1205389"/>
                    <a:pt x="205835" y="1257110"/>
                    <a:pt x="0" y="1349978"/>
                  </a:cubicBezTo>
                  <a:lnTo>
                    <a:pt x="0" y="0"/>
                  </a:lnTo>
                  <a:lnTo>
                    <a:pt x="1349978" y="0"/>
                  </a:lnTo>
                  <a:lnTo>
                    <a:pt x="1349788" y="1349978"/>
                  </a:lnTo>
                  <a:close/>
                </a:path>
              </a:pathLst>
            </a:custGeom>
            <a:solidFill>
              <a:srgbClr val="0F2D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45" name="Grafik 31">
              <a:extLst>
                <a:ext uri="{FF2B5EF4-FFF2-40B4-BE49-F238E27FC236}">
                  <a16:creationId xmlns:a16="http://schemas.microsoft.com/office/drawing/2014/main" id="{41CC0861-C095-8782-5280-5EEC72BD8039}"/>
                </a:ext>
              </a:extLst>
            </p:cNvPr>
            <p:cNvGrpSpPr/>
            <p:nvPr/>
          </p:nvGrpSpPr>
          <p:grpSpPr>
            <a:xfrm>
              <a:off x="5474985" y="3134295"/>
              <a:ext cx="1244293" cy="294132"/>
              <a:chOff x="5474985" y="3134295"/>
              <a:chExt cx="1244293" cy="294132"/>
            </a:xfrm>
            <a:solidFill>
              <a:srgbClr val="FFFFFF"/>
            </a:solidFill>
          </p:grpSpPr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0E1DB734-B830-5AE5-1BFB-8B16CEAAACF9}"/>
                  </a:ext>
                </a:extLst>
              </p:cNvPr>
              <p:cNvSpPr/>
              <p:nvPr/>
            </p:nvSpPr>
            <p:spPr>
              <a:xfrm>
                <a:off x="5474985" y="3134295"/>
                <a:ext cx="247353" cy="293941"/>
              </a:xfrm>
              <a:custGeom>
                <a:avLst/>
                <a:gdLst>
                  <a:gd name="connsiteX0" fmla="*/ 109998 w 247353"/>
                  <a:gd name="connsiteY0" fmla="*/ 30956 h 293941"/>
                  <a:gd name="connsiteX1" fmla="*/ 41418 w 247353"/>
                  <a:gd name="connsiteY1" fmla="*/ 95250 h 293941"/>
                  <a:gd name="connsiteX2" fmla="*/ 11129 w 247353"/>
                  <a:gd name="connsiteY2" fmla="*/ 95250 h 293941"/>
                  <a:gd name="connsiteX3" fmla="*/ 11129 w 247353"/>
                  <a:gd name="connsiteY3" fmla="*/ 0 h 293941"/>
                  <a:gd name="connsiteX4" fmla="*/ 247349 w 247353"/>
                  <a:gd name="connsiteY4" fmla="*/ 0 h 293941"/>
                  <a:gd name="connsiteX5" fmla="*/ 179340 w 247353"/>
                  <a:gd name="connsiteY5" fmla="*/ 151733 h 293941"/>
                  <a:gd name="connsiteX6" fmla="*/ 111141 w 247353"/>
                  <a:gd name="connsiteY6" fmla="*/ 262795 h 293941"/>
                  <a:gd name="connsiteX7" fmla="*/ 149432 w 247353"/>
                  <a:gd name="connsiteY7" fmla="*/ 262795 h 293941"/>
                  <a:gd name="connsiteX8" fmla="*/ 210011 w 247353"/>
                  <a:gd name="connsiteY8" fmla="*/ 198501 h 293941"/>
                  <a:gd name="connsiteX9" fmla="*/ 241634 w 247353"/>
                  <a:gd name="connsiteY9" fmla="*/ 198501 h 293941"/>
                  <a:gd name="connsiteX10" fmla="*/ 241634 w 247353"/>
                  <a:gd name="connsiteY10" fmla="*/ 293942 h 293941"/>
                  <a:gd name="connsiteX11" fmla="*/ 270 w 247353"/>
                  <a:gd name="connsiteY11" fmla="*/ 293942 h 293941"/>
                  <a:gd name="connsiteX12" fmla="*/ 75137 w 247353"/>
                  <a:gd name="connsiteY12" fmla="*/ 133731 h 293941"/>
                  <a:gd name="connsiteX13" fmla="*/ 138573 w 247353"/>
                  <a:gd name="connsiteY13" fmla="*/ 30671 h 293941"/>
                  <a:gd name="connsiteX14" fmla="*/ 109998 w 247353"/>
                  <a:gd name="connsiteY14" fmla="*/ 30861 h 2939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47353" h="293941">
                    <a:moveTo>
                      <a:pt x="109998" y="30956"/>
                    </a:moveTo>
                    <a:cubicBezTo>
                      <a:pt x="46562" y="30956"/>
                      <a:pt x="41418" y="95250"/>
                      <a:pt x="41418" y="95250"/>
                    </a:cubicBezTo>
                    <a:lnTo>
                      <a:pt x="11129" y="95250"/>
                    </a:lnTo>
                    <a:lnTo>
                      <a:pt x="11129" y="0"/>
                    </a:lnTo>
                    <a:lnTo>
                      <a:pt x="247349" y="0"/>
                    </a:lnTo>
                    <a:cubicBezTo>
                      <a:pt x="247349" y="0"/>
                      <a:pt x="249254" y="73628"/>
                      <a:pt x="179340" y="151733"/>
                    </a:cubicBezTo>
                    <a:cubicBezTo>
                      <a:pt x="179340" y="151733"/>
                      <a:pt x="112856" y="228981"/>
                      <a:pt x="111141" y="262795"/>
                    </a:cubicBezTo>
                    <a:lnTo>
                      <a:pt x="149432" y="262795"/>
                    </a:lnTo>
                    <a:cubicBezTo>
                      <a:pt x="204391" y="262795"/>
                      <a:pt x="210011" y="198501"/>
                      <a:pt x="210011" y="198501"/>
                    </a:cubicBezTo>
                    <a:lnTo>
                      <a:pt x="241634" y="198501"/>
                    </a:lnTo>
                    <a:lnTo>
                      <a:pt x="241634" y="293942"/>
                    </a:lnTo>
                    <a:lnTo>
                      <a:pt x="270" y="293942"/>
                    </a:lnTo>
                    <a:cubicBezTo>
                      <a:pt x="270" y="293942"/>
                      <a:pt x="-8588" y="221647"/>
                      <a:pt x="75137" y="133731"/>
                    </a:cubicBezTo>
                    <a:cubicBezTo>
                      <a:pt x="75137" y="133731"/>
                      <a:pt x="126667" y="76200"/>
                      <a:pt x="138573" y="30671"/>
                    </a:cubicBezTo>
                    <a:lnTo>
                      <a:pt x="109998" y="30861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C60C774E-DE62-B272-E1A1-737120370A8B}"/>
                  </a:ext>
                </a:extLst>
              </p:cNvPr>
              <p:cNvSpPr/>
              <p:nvPr/>
            </p:nvSpPr>
            <p:spPr>
              <a:xfrm>
                <a:off x="6030181" y="3134295"/>
                <a:ext cx="156495" cy="293750"/>
              </a:xfrm>
              <a:custGeom>
                <a:avLst/>
                <a:gdLst>
                  <a:gd name="connsiteX0" fmla="*/ 156496 w 156495"/>
                  <a:gd name="connsiteY0" fmla="*/ 293751 h 293750"/>
                  <a:gd name="connsiteX1" fmla="*/ 156496 w 156495"/>
                  <a:gd name="connsiteY1" fmla="*/ 262604 h 293750"/>
                  <a:gd name="connsiteX2" fmla="*/ 149352 w 156495"/>
                  <a:gd name="connsiteY2" fmla="*/ 262604 h 293750"/>
                  <a:gd name="connsiteX3" fmla="*/ 125730 w 156495"/>
                  <a:gd name="connsiteY3" fmla="*/ 238982 h 293750"/>
                  <a:gd name="connsiteX4" fmla="*/ 125730 w 156495"/>
                  <a:gd name="connsiteY4" fmla="*/ 54769 h 293750"/>
                  <a:gd name="connsiteX5" fmla="*/ 149352 w 156495"/>
                  <a:gd name="connsiteY5" fmla="*/ 31147 h 293750"/>
                  <a:gd name="connsiteX6" fmla="*/ 156496 w 156495"/>
                  <a:gd name="connsiteY6" fmla="*/ 31147 h 293750"/>
                  <a:gd name="connsiteX7" fmla="*/ 156496 w 156495"/>
                  <a:gd name="connsiteY7" fmla="*/ 0 h 293750"/>
                  <a:gd name="connsiteX8" fmla="*/ 0 w 156495"/>
                  <a:gd name="connsiteY8" fmla="*/ 0 h 293750"/>
                  <a:gd name="connsiteX9" fmla="*/ 0 w 156495"/>
                  <a:gd name="connsiteY9" fmla="*/ 31147 h 293750"/>
                  <a:gd name="connsiteX10" fmla="*/ 7144 w 156495"/>
                  <a:gd name="connsiteY10" fmla="*/ 31147 h 293750"/>
                  <a:gd name="connsiteX11" fmla="*/ 30956 w 156495"/>
                  <a:gd name="connsiteY11" fmla="*/ 54769 h 293750"/>
                  <a:gd name="connsiteX12" fmla="*/ 30956 w 156495"/>
                  <a:gd name="connsiteY12" fmla="*/ 238982 h 293750"/>
                  <a:gd name="connsiteX13" fmla="*/ 7144 w 156495"/>
                  <a:gd name="connsiteY13" fmla="*/ 262604 h 293750"/>
                  <a:gd name="connsiteX14" fmla="*/ 0 w 156495"/>
                  <a:gd name="connsiteY14" fmla="*/ 262604 h 293750"/>
                  <a:gd name="connsiteX15" fmla="*/ 0 w 156495"/>
                  <a:gd name="connsiteY15" fmla="*/ 293751 h 293750"/>
                  <a:gd name="connsiteX16" fmla="*/ 156496 w 156495"/>
                  <a:gd name="connsiteY16" fmla="*/ 293751 h 293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56495" h="293750">
                    <a:moveTo>
                      <a:pt x="156496" y="293751"/>
                    </a:moveTo>
                    <a:lnTo>
                      <a:pt x="156496" y="262604"/>
                    </a:lnTo>
                    <a:lnTo>
                      <a:pt x="149352" y="262604"/>
                    </a:lnTo>
                    <a:cubicBezTo>
                      <a:pt x="136398" y="262604"/>
                      <a:pt x="125730" y="251936"/>
                      <a:pt x="125730" y="238982"/>
                    </a:cubicBezTo>
                    <a:lnTo>
                      <a:pt x="125730" y="54769"/>
                    </a:lnTo>
                    <a:cubicBezTo>
                      <a:pt x="125730" y="41815"/>
                      <a:pt x="136303" y="31147"/>
                      <a:pt x="149352" y="31147"/>
                    </a:cubicBezTo>
                    <a:lnTo>
                      <a:pt x="156496" y="31147"/>
                    </a:lnTo>
                    <a:lnTo>
                      <a:pt x="156496" y="0"/>
                    </a:lnTo>
                    <a:lnTo>
                      <a:pt x="0" y="0"/>
                    </a:lnTo>
                    <a:lnTo>
                      <a:pt x="0" y="31147"/>
                    </a:lnTo>
                    <a:lnTo>
                      <a:pt x="7144" y="31147"/>
                    </a:lnTo>
                    <a:cubicBezTo>
                      <a:pt x="20383" y="31147"/>
                      <a:pt x="30956" y="41720"/>
                      <a:pt x="30956" y="54769"/>
                    </a:cubicBezTo>
                    <a:lnTo>
                      <a:pt x="30956" y="238982"/>
                    </a:lnTo>
                    <a:cubicBezTo>
                      <a:pt x="30956" y="251936"/>
                      <a:pt x="20383" y="262604"/>
                      <a:pt x="7144" y="262604"/>
                    </a:cubicBezTo>
                    <a:lnTo>
                      <a:pt x="0" y="262604"/>
                    </a:lnTo>
                    <a:lnTo>
                      <a:pt x="0" y="293751"/>
                    </a:lnTo>
                    <a:lnTo>
                      <a:pt x="156496" y="293751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" name="Freihandform: Form 47">
                <a:extLst>
                  <a:ext uri="{FF2B5EF4-FFF2-40B4-BE49-F238E27FC236}">
                    <a16:creationId xmlns:a16="http://schemas.microsoft.com/office/drawing/2014/main" id="{D27B9397-E5F6-C6E8-7858-CC8AD3D39FD5}"/>
                  </a:ext>
                </a:extLst>
              </p:cNvPr>
              <p:cNvSpPr/>
              <p:nvPr/>
            </p:nvSpPr>
            <p:spPr>
              <a:xfrm>
                <a:off x="5748718" y="3134295"/>
                <a:ext cx="248983" cy="294132"/>
              </a:xfrm>
              <a:custGeom>
                <a:avLst/>
                <a:gdLst>
                  <a:gd name="connsiteX0" fmla="*/ 248983 w 248983"/>
                  <a:gd name="connsiteY0" fmla="*/ 294037 h 294132"/>
                  <a:gd name="connsiteX1" fmla="*/ 248983 w 248983"/>
                  <a:gd name="connsiteY1" fmla="*/ 198596 h 294132"/>
                  <a:gd name="connsiteX2" fmla="*/ 217361 w 248983"/>
                  <a:gd name="connsiteY2" fmla="*/ 198596 h 294132"/>
                  <a:gd name="connsiteX3" fmla="*/ 156496 w 248983"/>
                  <a:gd name="connsiteY3" fmla="*/ 262890 h 294132"/>
                  <a:gd name="connsiteX4" fmla="*/ 124873 w 248983"/>
                  <a:gd name="connsiteY4" fmla="*/ 262890 h 294132"/>
                  <a:gd name="connsiteX5" fmla="*/ 124873 w 248983"/>
                  <a:gd name="connsiteY5" fmla="*/ 162687 h 294132"/>
                  <a:gd name="connsiteX6" fmla="*/ 136112 w 248983"/>
                  <a:gd name="connsiteY6" fmla="*/ 162687 h 294132"/>
                  <a:gd name="connsiteX7" fmla="*/ 159925 w 248983"/>
                  <a:gd name="connsiteY7" fmla="*/ 186500 h 294132"/>
                  <a:gd name="connsiteX8" fmla="*/ 159925 w 248983"/>
                  <a:gd name="connsiteY8" fmla="*/ 198406 h 294132"/>
                  <a:gd name="connsiteX9" fmla="*/ 191071 w 248983"/>
                  <a:gd name="connsiteY9" fmla="*/ 198406 h 294132"/>
                  <a:gd name="connsiteX10" fmla="*/ 191071 w 248983"/>
                  <a:gd name="connsiteY10" fmla="*/ 95631 h 294132"/>
                  <a:gd name="connsiteX11" fmla="*/ 159925 w 248983"/>
                  <a:gd name="connsiteY11" fmla="*/ 95631 h 294132"/>
                  <a:gd name="connsiteX12" fmla="*/ 159925 w 248983"/>
                  <a:gd name="connsiteY12" fmla="*/ 107537 h 294132"/>
                  <a:gd name="connsiteX13" fmla="*/ 136112 w 248983"/>
                  <a:gd name="connsiteY13" fmla="*/ 131350 h 294132"/>
                  <a:gd name="connsiteX14" fmla="*/ 124873 w 248983"/>
                  <a:gd name="connsiteY14" fmla="*/ 131350 h 294132"/>
                  <a:gd name="connsiteX15" fmla="*/ 124873 w 248983"/>
                  <a:gd name="connsiteY15" fmla="*/ 31147 h 294132"/>
                  <a:gd name="connsiteX16" fmla="*/ 156496 w 248983"/>
                  <a:gd name="connsiteY16" fmla="*/ 31147 h 294132"/>
                  <a:gd name="connsiteX17" fmla="*/ 217361 w 248983"/>
                  <a:gd name="connsiteY17" fmla="*/ 95441 h 294132"/>
                  <a:gd name="connsiteX18" fmla="*/ 248983 w 248983"/>
                  <a:gd name="connsiteY18" fmla="*/ 95441 h 294132"/>
                  <a:gd name="connsiteX19" fmla="*/ 248983 w 248983"/>
                  <a:gd name="connsiteY19" fmla="*/ 0 h 294132"/>
                  <a:gd name="connsiteX20" fmla="*/ 0 w 248983"/>
                  <a:gd name="connsiteY20" fmla="*/ 0 h 294132"/>
                  <a:gd name="connsiteX21" fmla="*/ 0 w 248983"/>
                  <a:gd name="connsiteY21" fmla="*/ 31337 h 294132"/>
                  <a:gd name="connsiteX22" fmla="*/ 7144 w 248983"/>
                  <a:gd name="connsiteY22" fmla="*/ 31337 h 294132"/>
                  <a:gd name="connsiteX23" fmla="*/ 30766 w 248983"/>
                  <a:gd name="connsiteY23" fmla="*/ 54959 h 294132"/>
                  <a:gd name="connsiteX24" fmla="*/ 30766 w 248983"/>
                  <a:gd name="connsiteY24" fmla="*/ 239173 h 294132"/>
                  <a:gd name="connsiteX25" fmla="*/ 7144 w 248983"/>
                  <a:gd name="connsiteY25" fmla="*/ 262795 h 294132"/>
                  <a:gd name="connsiteX26" fmla="*/ 0 w 248983"/>
                  <a:gd name="connsiteY26" fmla="*/ 262795 h 294132"/>
                  <a:gd name="connsiteX27" fmla="*/ 0 w 248983"/>
                  <a:gd name="connsiteY27" fmla="*/ 293942 h 294132"/>
                  <a:gd name="connsiteX28" fmla="*/ 248983 w 248983"/>
                  <a:gd name="connsiteY28" fmla="*/ 294132 h 294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248983" h="294132">
                    <a:moveTo>
                      <a:pt x="248983" y="294037"/>
                    </a:moveTo>
                    <a:lnTo>
                      <a:pt x="248983" y="198596"/>
                    </a:lnTo>
                    <a:lnTo>
                      <a:pt x="217361" y="198596"/>
                    </a:lnTo>
                    <a:cubicBezTo>
                      <a:pt x="217361" y="198596"/>
                      <a:pt x="211550" y="262890"/>
                      <a:pt x="156496" y="262890"/>
                    </a:cubicBezTo>
                    <a:lnTo>
                      <a:pt x="124873" y="262890"/>
                    </a:lnTo>
                    <a:lnTo>
                      <a:pt x="124873" y="162687"/>
                    </a:lnTo>
                    <a:lnTo>
                      <a:pt x="136112" y="162687"/>
                    </a:lnTo>
                    <a:cubicBezTo>
                      <a:pt x="149352" y="162687"/>
                      <a:pt x="159925" y="173355"/>
                      <a:pt x="159925" y="186500"/>
                    </a:cubicBezTo>
                    <a:lnTo>
                      <a:pt x="159925" y="198406"/>
                    </a:lnTo>
                    <a:lnTo>
                      <a:pt x="191071" y="198406"/>
                    </a:lnTo>
                    <a:lnTo>
                      <a:pt x="191071" y="95631"/>
                    </a:lnTo>
                    <a:lnTo>
                      <a:pt x="159925" y="95631"/>
                    </a:lnTo>
                    <a:lnTo>
                      <a:pt x="159925" y="107537"/>
                    </a:lnTo>
                    <a:cubicBezTo>
                      <a:pt x="159925" y="120777"/>
                      <a:pt x="149352" y="131350"/>
                      <a:pt x="136112" y="131350"/>
                    </a:cubicBezTo>
                    <a:lnTo>
                      <a:pt x="124873" y="131350"/>
                    </a:lnTo>
                    <a:lnTo>
                      <a:pt x="124873" y="31147"/>
                    </a:lnTo>
                    <a:lnTo>
                      <a:pt x="156496" y="31147"/>
                    </a:lnTo>
                    <a:cubicBezTo>
                      <a:pt x="211455" y="31147"/>
                      <a:pt x="217361" y="95441"/>
                      <a:pt x="217361" y="95441"/>
                    </a:cubicBezTo>
                    <a:lnTo>
                      <a:pt x="248983" y="95441"/>
                    </a:lnTo>
                    <a:lnTo>
                      <a:pt x="248983" y="0"/>
                    </a:lnTo>
                    <a:lnTo>
                      <a:pt x="0" y="0"/>
                    </a:lnTo>
                    <a:lnTo>
                      <a:pt x="0" y="31337"/>
                    </a:lnTo>
                    <a:lnTo>
                      <a:pt x="7144" y="31337"/>
                    </a:lnTo>
                    <a:cubicBezTo>
                      <a:pt x="20098" y="31337"/>
                      <a:pt x="30766" y="42005"/>
                      <a:pt x="30766" y="54959"/>
                    </a:cubicBezTo>
                    <a:lnTo>
                      <a:pt x="30766" y="239173"/>
                    </a:lnTo>
                    <a:cubicBezTo>
                      <a:pt x="30766" y="252127"/>
                      <a:pt x="20193" y="262795"/>
                      <a:pt x="7144" y="262795"/>
                    </a:cubicBezTo>
                    <a:lnTo>
                      <a:pt x="0" y="262795"/>
                    </a:lnTo>
                    <a:lnTo>
                      <a:pt x="0" y="293942"/>
                    </a:lnTo>
                    <a:lnTo>
                      <a:pt x="248983" y="294132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9" name="Freihandform: Form 48">
                <a:extLst>
                  <a:ext uri="{FF2B5EF4-FFF2-40B4-BE49-F238E27FC236}">
                    <a16:creationId xmlns:a16="http://schemas.microsoft.com/office/drawing/2014/main" id="{6219B01A-9FB5-3D06-7034-E2C6605B7E74}"/>
                  </a:ext>
                </a:extLst>
              </p:cNvPr>
              <p:cNvSpPr/>
              <p:nvPr/>
            </p:nvSpPr>
            <p:spPr>
              <a:xfrm>
                <a:off x="6217588" y="3134295"/>
                <a:ext cx="237562" cy="293941"/>
              </a:xfrm>
              <a:custGeom>
                <a:avLst/>
                <a:gdLst>
                  <a:gd name="connsiteX0" fmla="*/ 133586 w 237562"/>
                  <a:gd name="connsiteY0" fmla="*/ 30956 h 293941"/>
                  <a:gd name="connsiteX1" fmla="*/ 201976 w 237562"/>
                  <a:gd name="connsiteY1" fmla="*/ 95250 h 293941"/>
                  <a:gd name="connsiteX2" fmla="*/ 232551 w 237562"/>
                  <a:gd name="connsiteY2" fmla="*/ 95250 h 293941"/>
                  <a:gd name="connsiteX3" fmla="*/ 232551 w 237562"/>
                  <a:gd name="connsiteY3" fmla="*/ 0 h 293941"/>
                  <a:gd name="connsiteX4" fmla="*/ 6713 w 237562"/>
                  <a:gd name="connsiteY4" fmla="*/ 0 h 293941"/>
                  <a:gd name="connsiteX5" fmla="*/ 64339 w 237562"/>
                  <a:gd name="connsiteY5" fmla="*/ 151733 h 293941"/>
                  <a:gd name="connsiteX6" fmla="*/ 132348 w 237562"/>
                  <a:gd name="connsiteY6" fmla="*/ 262795 h 293941"/>
                  <a:gd name="connsiteX7" fmla="*/ 94248 w 237562"/>
                  <a:gd name="connsiteY7" fmla="*/ 262795 h 293941"/>
                  <a:gd name="connsiteX8" fmla="*/ 33383 w 237562"/>
                  <a:gd name="connsiteY8" fmla="*/ 198501 h 293941"/>
                  <a:gd name="connsiteX9" fmla="*/ 1760 w 237562"/>
                  <a:gd name="connsiteY9" fmla="*/ 198501 h 293941"/>
                  <a:gd name="connsiteX10" fmla="*/ 1760 w 237562"/>
                  <a:gd name="connsiteY10" fmla="*/ 293942 h 293941"/>
                  <a:gd name="connsiteX11" fmla="*/ 229312 w 237562"/>
                  <a:gd name="connsiteY11" fmla="*/ 293942 h 293941"/>
                  <a:gd name="connsiteX12" fmla="*/ 168257 w 237562"/>
                  <a:gd name="connsiteY12" fmla="*/ 133731 h 293941"/>
                  <a:gd name="connsiteX13" fmla="*/ 104821 w 237562"/>
                  <a:gd name="connsiteY13" fmla="*/ 30671 h 293941"/>
                  <a:gd name="connsiteX14" fmla="*/ 133586 w 237562"/>
                  <a:gd name="connsiteY14" fmla="*/ 30861 h 2939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37562" h="293941">
                    <a:moveTo>
                      <a:pt x="133586" y="30956"/>
                    </a:moveTo>
                    <a:cubicBezTo>
                      <a:pt x="197023" y="30956"/>
                      <a:pt x="201976" y="95250"/>
                      <a:pt x="201976" y="95250"/>
                    </a:cubicBezTo>
                    <a:lnTo>
                      <a:pt x="232551" y="95250"/>
                    </a:lnTo>
                    <a:lnTo>
                      <a:pt x="232551" y="0"/>
                    </a:lnTo>
                    <a:lnTo>
                      <a:pt x="6713" y="0"/>
                    </a:lnTo>
                    <a:cubicBezTo>
                      <a:pt x="6713" y="0"/>
                      <a:pt x="-29006" y="46768"/>
                      <a:pt x="64339" y="151733"/>
                    </a:cubicBezTo>
                    <a:cubicBezTo>
                      <a:pt x="64339" y="151733"/>
                      <a:pt x="130538" y="228981"/>
                      <a:pt x="132348" y="262795"/>
                    </a:cubicBezTo>
                    <a:lnTo>
                      <a:pt x="94248" y="262795"/>
                    </a:lnTo>
                    <a:cubicBezTo>
                      <a:pt x="39289" y="262795"/>
                      <a:pt x="33383" y="198501"/>
                      <a:pt x="33383" y="198501"/>
                    </a:cubicBezTo>
                    <a:lnTo>
                      <a:pt x="1760" y="198501"/>
                    </a:lnTo>
                    <a:lnTo>
                      <a:pt x="1760" y="293942"/>
                    </a:lnTo>
                    <a:lnTo>
                      <a:pt x="229312" y="293942"/>
                    </a:lnTo>
                    <a:cubicBezTo>
                      <a:pt x="229312" y="293942"/>
                      <a:pt x="270651" y="249365"/>
                      <a:pt x="168257" y="133731"/>
                    </a:cubicBezTo>
                    <a:cubicBezTo>
                      <a:pt x="168257" y="133731"/>
                      <a:pt x="114536" y="78581"/>
                      <a:pt x="104821" y="30671"/>
                    </a:cubicBezTo>
                    <a:lnTo>
                      <a:pt x="133586" y="30861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0" name="Freihandform: Form 49">
                <a:extLst>
                  <a:ext uri="{FF2B5EF4-FFF2-40B4-BE49-F238E27FC236}">
                    <a16:creationId xmlns:a16="http://schemas.microsoft.com/office/drawing/2014/main" id="{31ADE726-82F1-CC42-DEC8-1FD0F569394B}"/>
                  </a:ext>
                </a:extLst>
              </p:cNvPr>
              <p:cNvSpPr/>
              <p:nvPr/>
            </p:nvSpPr>
            <p:spPr>
              <a:xfrm>
                <a:off x="6481716" y="3134295"/>
                <a:ext cx="237562" cy="293941"/>
              </a:xfrm>
              <a:custGeom>
                <a:avLst/>
                <a:gdLst>
                  <a:gd name="connsiteX0" fmla="*/ 133586 w 237562"/>
                  <a:gd name="connsiteY0" fmla="*/ 30956 h 293941"/>
                  <a:gd name="connsiteX1" fmla="*/ 201976 w 237562"/>
                  <a:gd name="connsiteY1" fmla="*/ 95250 h 293941"/>
                  <a:gd name="connsiteX2" fmla="*/ 232265 w 237562"/>
                  <a:gd name="connsiteY2" fmla="*/ 95250 h 293941"/>
                  <a:gd name="connsiteX3" fmla="*/ 232265 w 237562"/>
                  <a:gd name="connsiteY3" fmla="*/ 0 h 293941"/>
                  <a:gd name="connsiteX4" fmla="*/ 6713 w 237562"/>
                  <a:gd name="connsiteY4" fmla="*/ 0 h 293941"/>
                  <a:gd name="connsiteX5" fmla="*/ 64339 w 237562"/>
                  <a:gd name="connsiteY5" fmla="*/ 151733 h 293941"/>
                  <a:gd name="connsiteX6" fmla="*/ 132348 w 237562"/>
                  <a:gd name="connsiteY6" fmla="*/ 262795 h 293941"/>
                  <a:gd name="connsiteX7" fmla="*/ 94248 w 237562"/>
                  <a:gd name="connsiteY7" fmla="*/ 262795 h 293941"/>
                  <a:gd name="connsiteX8" fmla="*/ 33383 w 237562"/>
                  <a:gd name="connsiteY8" fmla="*/ 198501 h 293941"/>
                  <a:gd name="connsiteX9" fmla="*/ 1760 w 237562"/>
                  <a:gd name="connsiteY9" fmla="*/ 198501 h 293941"/>
                  <a:gd name="connsiteX10" fmla="*/ 1760 w 237562"/>
                  <a:gd name="connsiteY10" fmla="*/ 293942 h 293941"/>
                  <a:gd name="connsiteX11" fmla="*/ 229313 w 237562"/>
                  <a:gd name="connsiteY11" fmla="*/ 293942 h 293941"/>
                  <a:gd name="connsiteX12" fmla="*/ 168257 w 237562"/>
                  <a:gd name="connsiteY12" fmla="*/ 133731 h 293941"/>
                  <a:gd name="connsiteX13" fmla="*/ 104821 w 237562"/>
                  <a:gd name="connsiteY13" fmla="*/ 30671 h 293941"/>
                  <a:gd name="connsiteX14" fmla="*/ 133586 w 237562"/>
                  <a:gd name="connsiteY14" fmla="*/ 30861 h 2939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37562" h="293941">
                    <a:moveTo>
                      <a:pt x="133586" y="30956"/>
                    </a:moveTo>
                    <a:cubicBezTo>
                      <a:pt x="196832" y="30956"/>
                      <a:pt x="201976" y="95250"/>
                      <a:pt x="201976" y="95250"/>
                    </a:cubicBezTo>
                    <a:lnTo>
                      <a:pt x="232265" y="95250"/>
                    </a:lnTo>
                    <a:lnTo>
                      <a:pt x="232265" y="0"/>
                    </a:lnTo>
                    <a:lnTo>
                      <a:pt x="6713" y="0"/>
                    </a:lnTo>
                    <a:cubicBezTo>
                      <a:pt x="6713" y="0"/>
                      <a:pt x="-29006" y="46768"/>
                      <a:pt x="64339" y="151733"/>
                    </a:cubicBezTo>
                    <a:cubicBezTo>
                      <a:pt x="64339" y="151733"/>
                      <a:pt x="130538" y="228981"/>
                      <a:pt x="132348" y="262795"/>
                    </a:cubicBezTo>
                    <a:lnTo>
                      <a:pt x="94248" y="262795"/>
                    </a:lnTo>
                    <a:cubicBezTo>
                      <a:pt x="39289" y="262795"/>
                      <a:pt x="33383" y="198501"/>
                      <a:pt x="33383" y="198501"/>
                    </a:cubicBezTo>
                    <a:lnTo>
                      <a:pt x="1760" y="198501"/>
                    </a:lnTo>
                    <a:lnTo>
                      <a:pt x="1760" y="293942"/>
                    </a:lnTo>
                    <a:lnTo>
                      <a:pt x="229313" y="293942"/>
                    </a:lnTo>
                    <a:cubicBezTo>
                      <a:pt x="229313" y="293942"/>
                      <a:pt x="270651" y="249365"/>
                      <a:pt x="168257" y="133731"/>
                    </a:cubicBezTo>
                    <a:cubicBezTo>
                      <a:pt x="168257" y="133731"/>
                      <a:pt x="114536" y="78581"/>
                      <a:pt x="104821" y="30671"/>
                    </a:cubicBezTo>
                    <a:lnTo>
                      <a:pt x="133586" y="30861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309880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Slide |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9" y="299633"/>
            <a:ext cx="9740106" cy="369332"/>
          </a:xfrm>
        </p:spPr>
        <p:txBody>
          <a:bodyPr/>
          <a:lstStyle/>
          <a:p>
            <a:r>
              <a:rPr lang="en-US" noProof="0"/>
              <a:t>Edit Master Cover Format</a:t>
            </a:r>
          </a:p>
        </p:txBody>
      </p:sp>
      <p:sp>
        <p:nvSpPr>
          <p:cNvPr id="11" name="Textplatzhalter 8">
            <a:extLst>
              <a:ext uri="{FF2B5EF4-FFF2-40B4-BE49-F238E27FC236}">
                <a16:creationId xmlns:a16="http://schemas.microsoft.com/office/drawing/2014/main" id="{3672128A-9CD1-4BA0-8866-2DE4C8621BF2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ZEISS Frutiger Next W1G" panose="020B0503040204020203" pitchFamily="34" charset="0"/>
              </a:defRPr>
            </a:lvl1pPr>
          </a:lstStyle>
          <a:p>
            <a:pPr lvl="0"/>
            <a:r>
              <a:rPr lang="en-US" noProof="0" dirty="0"/>
              <a:t>Edit master text format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63E6CB3C-AA15-4066-87A4-1BC111AFD6D2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518320" y="1631837"/>
            <a:ext cx="3521074" cy="4464000"/>
          </a:xfrm>
        </p:spPr>
        <p:txBody>
          <a:bodyPr rIns="540000"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91B4FA4A-707E-4B21-8550-2A1CA445619E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336655" y="1631837"/>
            <a:ext cx="3521074" cy="4464000"/>
          </a:xfrm>
        </p:spPr>
        <p:txBody>
          <a:bodyPr rIns="540000"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66568BC8-CF70-4E83-B3D8-E4E070B4F8ED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8154989" y="1631837"/>
            <a:ext cx="3521074" cy="4464000"/>
          </a:xfrm>
        </p:spPr>
        <p:txBody>
          <a:bodyPr rIns="540000"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102CB9D-4819-4042-AAFD-7958A4C7428D}"/>
              </a:ext>
            </a:extLst>
          </p:cNvPr>
          <p:cNvSpPr>
            <a:spLocks noGrp="1"/>
          </p:cNvSpPr>
          <p:nvPr>
            <p:ph type="dt" sz="half" idx="68"/>
          </p:nvPr>
        </p:nvSpPr>
        <p:spPr/>
        <p:txBody>
          <a:bodyPr/>
          <a:lstStyle/>
          <a:p>
            <a:fld id="{5F34CB99-436C-44DD-A00F-4552AD08113A}" type="datetime3">
              <a:rPr lang="en-US" noProof="0" smtClean="0"/>
              <a:t>4 June 2025</a:t>
            </a:fld>
            <a:endParaRPr lang="en-US" noProof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4F1084E-E079-4EB4-A1F3-26B9209D3CC5}"/>
              </a:ext>
            </a:extLst>
          </p:cNvPr>
          <p:cNvSpPr>
            <a:spLocks noGrp="1"/>
          </p:cNvSpPr>
          <p:nvPr>
            <p:ph type="ftr" sz="quarter" idx="69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146C619-2560-4AAC-8398-CE3A02E1D5F3}"/>
              </a:ext>
            </a:extLst>
          </p:cNvPr>
          <p:cNvSpPr>
            <a:spLocks noGrp="1"/>
          </p:cNvSpPr>
          <p:nvPr>
            <p:ph type="sldNum" sz="quarter" idx="70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907444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Slide |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9" y="299633"/>
            <a:ext cx="9740106" cy="369332"/>
          </a:xfrm>
        </p:spPr>
        <p:txBody>
          <a:bodyPr/>
          <a:lstStyle/>
          <a:p>
            <a:r>
              <a:rPr lang="en-US" noProof="0"/>
              <a:t>Edit Master Cover Format</a:t>
            </a:r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6090A1F3-A7AB-42F7-9FBF-8736DC5882DB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ZEISS Frutiger Next W1G" panose="020B0503040204020203" pitchFamily="34" charset="0"/>
              </a:defRPr>
            </a:lvl1pPr>
          </a:lstStyle>
          <a:p>
            <a:pPr lvl="0"/>
            <a:r>
              <a:rPr lang="en-US" noProof="0" dirty="0"/>
              <a:t>Edit master text format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78DED978-10E9-4C45-9AF8-D5BAE20E9625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18320" y="1631837"/>
            <a:ext cx="2570061" cy="4464000"/>
          </a:xfrm>
        </p:spPr>
        <p:txBody>
          <a:bodyPr rIns="540000"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3CA966A3-1F04-42F3-AA58-C900F327C550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3380881" y="1631837"/>
            <a:ext cx="2570061" cy="4464000"/>
          </a:xfrm>
        </p:spPr>
        <p:txBody>
          <a:bodyPr rIns="540000"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Textplatzhalter 3">
            <a:extLst>
              <a:ext uri="{FF2B5EF4-FFF2-40B4-BE49-F238E27FC236}">
                <a16:creationId xmlns:a16="http://schemas.microsoft.com/office/drawing/2014/main" id="{E9EB05F1-EE7A-473E-83D8-EA42061575EA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6243442" y="1631837"/>
            <a:ext cx="2570061" cy="4464000"/>
          </a:xfrm>
        </p:spPr>
        <p:txBody>
          <a:bodyPr rIns="540000"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29D348FF-9AC7-4A00-B1A3-468BE3014FEC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9106002" y="1631837"/>
            <a:ext cx="2570061" cy="4464000"/>
          </a:xfrm>
        </p:spPr>
        <p:txBody>
          <a:bodyPr rIns="540000"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4C66A3E1-DB69-4154-B04C-355FC02A89A8}"/>
              </a:ext>
            </a:extLst>
          </p:cNvPr>
          <p:cNvSpPr>
            <a:spLocks noGrp="1"/>
          </p:cNvSpPr>
          <p:nvPr>
            <p:ph type="dt" sz="half" idx="70"/>
          </p:nvPr>
        </p:nvSpPr>
        <p:spPr/>
        <p:txBody>
          <a:bodyPr/>
          <a:lstStyle/>
          <a:p>
            <a:fld id="{5F34CB99-436C-44DD-A00F-4552AD08113A}" type="datetime3">
              <a:rPr lang="en-US" noProof="0" smtClean="0"/>
              <a:t>4 June 2025</a:t>
            </a:fld>
            <a:endParaRPr lang="en-US" noProof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9BBC0533-4FB6-4E4C-9FEE-307A65EB0EF1}"/>
              </a:ext>
            </a:extLst>
          </p:cNvPr>
          <p:cNvSpPr>
            <a:spLocks noGrp="1"/>
          </p:cNvSpPr>
          <p:nvPr>
            <p:ph type="ftr" sz="quarter" idx="7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9753430-571A-42FB-ABDB-E185A1666AB5}"/>
              </a:ext>
            </a:extLst>
          </p:cNvPr>
          <p:cNvSpPr>
            <a:spLocks noGrp="1"/>
          </p:cNvSpPr>
          <p:nvPr>
            <p:ph type="sldNum" sz="quarter" idx="72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9169840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Slide | 4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9" y="299633"/>
            <a:ext cx="9740106" cy="369332"/>
          </a:xfrm>
        </p:spPr>
        <p:txBody>
          <a:bodyPr/>
          <a:lstStyle/>
          <a:p>
            <a:r>
              <a:rPr lang="en-US" noProof="0"/>
              <a:t>Edit Master Cover Format</a:t>
            </a:r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A276B4CC-8E3B-49AA-A6D3-2C309ED8CFEE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ZEISS Frutiger Next W1G" panose="020B0503040204020203" pitchFamily="34" charset="0"/>
              </a:defRPr>
            </a:lvl1pPr>
          </a:lstStyle>
          <a:p>
            <a:pPr lvl="0"/>
            <a:r>
              <a:rPr lang="en-US" noProof="0" dirty="0"/>
              <a:t>Edit master text format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4DC0976-C523-4842-8BFE-0A9CBF3B503A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518318" y="1631837"/>
            <a:ext cx="5433219" cy="2086521"/>
          </a:xfrm>
        </p:spPr>
        <p:txBody>
          <a:bodyPr rIns="540000"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DBBDED6D-1B2A-4452-8222-8F9BFC9EAEFF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518318" y="4006299"/>
            <a:ext cx="5433219" cy="2086521"/>
          </a:xfrm>
        </p:spPr>
        <p:txBody>
          <a:bodyPr rIns="540000"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2A5093DB-E40A-443C-AE2F-5BD6332BA4DD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242844" y="1631837"/>
            <a:ext cx="5433219" cy="2086521"/>
          </a:xfrm>
        </p:spPr>
        <p:txBody>
          <a:bodyPr rIns="540000"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2" name="Textplatzhalter 3">
            <a:extLst>
              <a:ext uri="{FF2B5EF4-FFF2-40B4-BE49-F238E27FC236}">
                <a16:creationId xmlns:a16="http://schemas.microsoft.com/office/drawing/2014/main" id="{8E5BB036-1A1C-4EB9-AF21-69D3C12FF402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6242844" y="4006299"/>
            <a:ext cx="5433219" cy="2086521"/>
          </a:xfrm>
        </p:spPr>
        <p:txBody>
          <a:bodyPr rIns="540000"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4856AE80-64C9-468E-83D2-89FF7C96AA94}"/>
              </a:ext>
            </a:extLst>
          </p:cNvPr>
          <p:cNvSpPr>
            <a:spLocks noGrp="1"/>
          </p:cNvSpPr>
          <p:nvPr>
            <p:ph type="dt" sz="half" idx="72"/>
          </p:nvPr>
        </p:nvSpPr>
        <p:spPr/>
        <p:txBody>
          <a:bodyPr/>
          <a:lstStyle/>
          <a:p>
            <a:fld id="{5F34CB99-436C-44DD-A00F-4552AD08113A}" type="datetime3">
              <a:rPr lang="en-US" noProof="0" smtClean="0"/>
              <a:t>4 June 2025</a:t>
            </a:fld>
            <a:endParaRPr lang="en-US" noProof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90C193D0-85F9-429C-B3DB-E608384DC738}"/>
              </a:ext>
            </a:extLst>
          </p:cNvPr>
          <p:cNvSpPr>
            <a:spLocks noGrp="1"/>
          </p:cNvSpPr>
          <p:nvPr>
            <p:ph type="ftr" sz="quarter" idx="73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51A7080C-3AB4-4217-8B70-9F4453998D34}"/>
              </a:ext>
            </a:extLst>
          </p:cNvPr>
          <p:cNvSpPr>
            <a:spLocks noGrp="1"/>
          </p:cNvSpPr>
          <p:nvPr>
            <p:ph type="sldNum" sz="quarter" idx="74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042643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 Photo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9" y="299633"/>
            <a:ext cx="9740106" cy="369332"/>
          </a:xfrm>
        </p:spPr>
        <p:txBody>
          <a:bodyPr/>
          <a:lstStyle/>
          <a:p>
            <a:r>
              <a:rPr lang="en-US" noProof="0"/>
              <a:t>Edit Master Cover Format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110DE13-884C-476D-A18E-6F6ED1A03B99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6242847" y="1631837"/>
            <a:ext cx="5433216" cy="44640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en-US" noProof="0"/>
              <a:t> </a:t>
            </a:r>
          </a:p>
        </p:txBody>
      </p:sp>
      <p:sp>
        <p:nvSpPr>
          <p:cNvPr id="11" name="Textplatzhalter 8">
            <a:extLst>
              <a:ext uri="{FF2B5EF4-FFF2-40B4-BE49-F238E27FC236}">
                <a16:creationId xmlns:a16="http://schemas.microsoft.com/office/drawing/2014/main" id="{F8B81FA6-341F-4F98-BDCB-E4F6B6D12B4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ZEISS Frutiger Next W1G" panose="020B0503040204020203" pitchFamily="34" charset="0"/>
              </a:defRPr>
            </a:lvl1pPr>
          </a:lstStyle>
          <a:p>
            <a:pPr lvl="0"/>
            <a:r>
              <a:rPr lang="en-US" noProof="0" dirty="0"/>
              <a:t>Edit master text format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219180E3-3297-4CBF-9A1C-BF98BA2B7514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18319" y="1631837"/>
            <a:ext cx="5433219" cy="4464000"/>
          </a:xfrm>
        </p:spPr>
        <p:txBody>
          <a:bodyPr rIns="540000"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FB60A86B-2C67-43D7-87CB-5F0345951B70}"/>
              </a:ext>
            </a:extLst>
          </p:cNvPr>
          <p:cNvSpPr>
            <a:spLocks noGrp="1"/>
          </p:cNvSpPr>
          <p:nvPr>
            <p:ph type="dt" sz="half" idx="65"/>
          </p:nvPr>
        </p:nvSpPr>
        <p:spPr/>
        <p:txBody>
          <a:bodyPr/>
          <a:lstStyle/>
          <a:p>
            <a:fld id="{5F34CB99-436C-44DD-A00F-4552AD08113A}" type="datetime3">
              <a:rPr lang="en-US" noProof="0" smtClean="0"/>
              <a:t>4 June 2025</a:t>
            </a:fld>
            <a:endParaRPr lang="en-US" noProof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F52409F4-987E-4D00-82C8-E98930C0182F}"/>
              </a:ext>
            </a:extLst>
          </p:cNvPr>
          <p:cNvSpPr>
            <a:spLocks noGrp="1"/>
          </p:cNvSpPr>
          <p:nvPr>
            <p:ph type="ftr" sz="quarter" idx="66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24FF6FB-E90B-4213-AD64-BF49E131A208}"/>
              </a:ext>
            </a:extLst>
          </p:cNvPr>
          <p:cNvSpPr>
            <a:spLocks noGrp="1"/>
          </p:cNvSpPr>
          <p:nvPr>
            <p:ph type="sldNum" sz="quarter" idx="67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36691264"/>
      </p:ext>
    </p:extLst>
  </p:cSld>
  <p:clrMapOvr>
    <a:masterClrMapping/>
  </p:clrMapOvr>
  <p:hf sldNum="0" hdr="0" ft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 Photo Slide | 2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9" y="299633"/>
            <a:ext cx="9740106" cy="369332"/>
          </a:xfrm>
        </p:spPr>
        <p:txBody>
          <a:bodyPr/>
          <a:lstStyle/>
          <a:p>
            <a:r>
              <a:rPr lang="en-US" noProof="0"/>
              <a:t>Edit Master Cover Format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110DE13-884C-476D-A18E-6F6ED1A03B99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6242847" y="1631837"/>
            <a:ext cx="2572145" cy="44640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en-US" noProof="0"/>
              <a:t> </a:t>
            </a: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DE207224-BD49-486F-AD1A-8E3330BDCF5D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9103918" y="1631837"/>
            <a:ext cx="2572145" cy="44640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en-US" noProof="0"/>
              <a:t> </a:t>
            </a:r>
          </a:p>
        </p:txBody>
      </p:sp>
      <p:sp>
        <p:nvSpPr>
          <p:cNvPr id="15" name="Textplatzhalter 8">
            <a:extLst>
              <a:ext uri="{FF2B5EF4-FFF2-40B4-BE49-F238E27FC236}">
                <a16:creationId xmlns:a16="http://schemas.microsoft.com/office/drawing/2014/main" id="{67019CAF-952D-4F3E-8D6F-25ACB42A0F4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ZEISS Frutiger Next W1G" panose="020B0503040204020203" pitchFamily="34" charset="0"/>
              </a:defRPr>
            </a:lvl1pPr>
          </a:lstStyle>
          <a:p>
            <a:pPr lvl="0"/>
            <a:r>
              <a:rPr lang="en-US" noProof="0" dirty="0"/>
              <a:t>Edit master text format</a:t>
            </a:r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2BD66A5F-8890-45C7-AFA2-FBAFE51EAA5D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518319" y="1631837"/>
            <a:ext cx="5433219" cy="3618387"/>
          </a:xfrm>
        </p:spPr>
        <p:txBody>
          <a:bodyPr rIns="540000"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50776CE-C715-4BB6-9753-D24EE139A4F8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871538" y="5634172"/>
            <a:ext cx="1080000" cy="461665"/>
          </a:xfrm>
        </p:spPr>
        <p:txBody>
          <a:bodyPr wrap="square">
            <a:noAutofit/>
          </a:bodyPr>
          <a:lstStyle>
            <a:lvl1pPr algn="r">
              <a:spcAft>
                <a:spcPts val="0"/>
              </a:spcAft>
              <a:defRPr sz="1000"/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02</a:t>
            </a:r>
            <a:br>
              <a:rPr lang="en-US" noProof="0"/>
            </a:br>
            <a:r>
              <a:rPr lang="en-US" noProof="0"/>
              <a:t>Edit master text format</a:t>
            </a:r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0FA2D9FE-5416-445D-999A-5E09BE4B77B4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3502611" y="5634172"/>
            <a:ext cx="1080000" cy="461665"/>
          </a:xfrm>
        </p:spPr>
        <p:txBody>
          <a:bodyPr wrap="square">
            <a:noAutofit/>
          </a:bodyPr>
          <a:lstStyle>
            <a:lvl1pPr algn="r">
              <a:spcAft>
                <a:spcPts val="0"/>
              </a:spcAft>
              <a:defRPr sz="1000"/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01</a:t>
            </a:r>
            <a:br>
              <a:rPr lang="en-US" noProof="0"/>
            </a:br>
            <a:r>
              <a:rPr lang="en-US" noProof="0"/>
              <a:t>Edit master text format</a:t>
            </a:r>
          </a:p>
        </p:txBody>
      </p:sp>
      <p:sp>
        <p:nvSpPr>
          <p:cNvPr id="18" name="Textplatzhalter 3">
            <a:extLst>
              <a:ext uri="{FF2B5EF4-FFF2-40B4-BE49-F238E27FC236}">
                <a16:creationId xmlns:a16="http://schemas.microsoft.com/office/drawing/2014/main" id="{4758C8A2-BB5A-4369-8E47-1B3AD76831CB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6242847" y="5634172"/>
            <a:ext cx="342680" cy="461665"/>
          </a:xfrm>
        </p:spPr>
        <p:txBody>
          <a:bodyPr wrap="none">
            <a:noAutofit/>
          </a:bodyPr>
          <a:lstStyle>
            <a:lvl1pPr algn="r">
              <a:spcAft>
                <a:spcPts val="0"/>
              </a:spcAft>
              <a:defRPr sz="1000">
                <a:solidFill>
                  <a:schemeClr val="bg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01</a:t>
            </a:r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EB3A890A-9CCC-4136-9288-897A93AE1F08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9103918" y="5634172"/>
            <a:ext cx="342680" cy="461665"/>
          </a:xfrm>
        </p:spPr>
        <p:txBody>
          <a:bodyPr wrap="none">
            <a:noAutofit/>
          </a:bodyPr>
          <a:lstStyle>
            <a:lvl1pPr algn="r">
              <a:spcAft>
                <a:spcPts val="0"/>
              </a:spcAft>
              <a:defRPr sz="1000">
                <a:solidFill>
                  <a:schemeClr val="bg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01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578A6F3-FA0A-497B-B3C3-3F161FD7737F}"/>
              </a:ext>
            </a:extLst>
          </p:cNvPr>
          <p:cNvSpPr>
            <a:spLocks noGrp="1"/>
          </p:cNvSpPr>
          <p:nvPr>
            <p:ph type="dt" sz="half" idx="70"/>
          </p:nvPr>
        </p:nvSpPr>
        <p:spPr/>
        <p:txBody>
          <a:bodyPr/>
          <a:lstStyle/>
          <a:p>
            <a:fld id="{5F34CB99-436C-44DD-A00F-4552AD08113A}" type="datetime3">
              <a:rPr lang="en-US" noProof="0" smtClean="0"/>
              <a:t>4 June 2025</a:t>
            </a:fld>
            <a:endParaRPr lang="en-US" noProof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3E50EEDF-D2E6-4F68-989E-872B6ADC7A2A}"/>
              </a:ext>
            </a:extLst>
          </p:cNvPr>
          <p:cNvSpPr>
            <a:spLocks noGrp="1"/>
          </p:cNvSpPr>
          <p:nvPr>
            <p:ph type="ftr" sz="quarter" idx="7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10C6A4D2-790B-43AA-B04E-B54A8CABCBAA}"/>
              </a:ext>
            </a:extLst>
          </p:cNvPr>
          <p:cNvSpPr>
            <a:spLocks noGrp="1"/>
          </p:cNvSpPr>
          <p:nvPr>
            <p:ph type="sldNum" sz="quarter" idx="72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0797920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-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110DE13-884C-476D-A18E-6F6ED1A03B99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518319" y="1631837"/>
            <a:ext cx="5433216" cy="44640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en-US" noProof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9" y="299633"/>
            <a:ext cx="9740106" cy="369332"/>
          </a:xfrm>
        </p:spPr>
        <p:txBody>
          <a:bodyPr/>
          <a:lstStyle/>
          <a:p>
            <a:r>
              <a:rPr lang="en-US" noProof="0"/>
              <a:t>Edit Master Cover Format</a:t>
            </a:r>
          </a:p>
        </p:txBody>
      </p:sp>
      <p:sp>
        <p:nvSpPr>
          <p:cNvPr id="13" name="Textplatzhalter 8">
            <a:extLst>
              <a:ext uri="{FF2B5EF4-FFF2-40B4-BE49-F238E27FC236}">
                <a16:creationId xmlns:a16="http://schemas.microsoft.com/office/drawing/2014/main" id="{F1578027-2A9A-485E-94CA-26294C7CB327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ZEISS Frutiger Next W1G" panose="020B0503040204020203" pitchFamily="34" charset="0"/>
              </a:defRPr>
            </a:lvl1pPr>
          </a:lstStyle>
          <a:p>
            <a:pPr lvl="0"/>
            <a:r>
              <a:rPr lang="en-US" noProof="0" dirty="0"/>
              <a:t>Edit master text format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02C0F8EF-24A8-485F-AAF4-B9275B071EB6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6242844" y="1631837"/>
            <a:ext cx="5433219" cy="4464000"/>
          </a:xfrm>
        </p:spPr>
        <p:txBody>
          <a:bodyPr rIns="540000"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2864BD2-AB7C-4DCA-9DE1-7FB94AD904EA}"/>
              </a:ext>
            </a:extLst>
          </p:cNvPr>
          <p:cNvSpPr>
            <a:spLocks noGrp="1"/>
          </p:cNvSpPr>
          <p:nvPr>
            <p:ph type="dt" sz="half" idx="66"/>
          </p:nvPr>
        </p:nvSpPr>
        <p:spPr/>
        <p:txBody>
          <a:bodyPr/>
          <a:lstStyle/>
          <a:p>
            <a:fld id="{5F34CB99-436C-44DD-A00F-4552AD08113A}" type="datetime3">
              <a:rPr lang="en-US" noProof="0" smtClean="0"/>
              <a:t>4 June 2025</a:t>
            </a:fld>
            <a:endParaRPr lang="en-US" noProof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2443A2DB-597F-4CE8-8F6C-4377E0CEB6AC}"/>
              </a:ext>
            </a:extLst>
          </p:cNvPr>
          <p:cNvSpPr>
            <a:spLocks noGrp="1"/>
          </p:cNvSpPr>
          <p:nvPr>
            <p:ph type="ftr" sz="quarter" idx="67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91C15477-FDBB-48A8-91C3-0750C08B32A4}"/>
              </a:ext>
            </a:extLst>
          </p:cNvPr>
          <p:cNvSpPr>
            <a:spLocks noGrp="1"/>
          </p:cNvSpPr>
          <p:nvPr>
            <p:ph type="sldNum" sz="quarter" idx="68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5455667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- Text Slide | 2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110DE13-884C-476D-A18E-6F6ED1A03B99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518319" y="1631837"/>
            <a:ext cx="2572145" cy="44640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en-US" noProof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9" y="299633"/>
            <a:ext cx="9740106" cy="369332"/>
          </a:xfrm>
        </p:spPr>
        <p:txBody>
          <a:bodyPr/>
          <a:lstStyle/>
          <a:p>
            <a:r>
              <a:rPr lang="en-US" noProof="0"/>
              <a:t>Edit Master Cover Format</a:t>
            </a: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5A4E8199-7A92-4A66-8124-B13B4C014735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3379392" y="1631837"/>
            <a:ext cx="2572145" cy="44640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en-US" noProof="0"/>
              <a:t> </a:t>
            </a:r>
          </a:p>
        </p:txBody>
      </p:sp>
      <p:sp>
        <p:nvSpPr>
          <p:cNvPr id="15" name="Textplatzhalter 8">
            <a:extLst>
              <a:ext uri="{FF2B5EF4-FFF2-40B4-BE49-F238E27FC236}">
                <a16:creationId xmlns:a16="http://schemas.microsoft.com/office/drawing/2014/main" id="{061F6D30-1E0B-46ED-9FBA-4F7AF9D857E8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ZEISS Frutiger Next W1G" panose="020B0503040204020203" pitchFamily="34" charset="0"/>
              </a:defRPr>
            </a:lvl1pPr>
          </a:lstStyle>
          <a:p>
            <a:pPr lvl="0"/>
            <a:r>
              <a:rPr lang="en-US" noProof="0" dirty="0"/>
              <a:t>Edit master text format</a:t>
            </a:r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E782CB96-581D-4138-8E6D-A203BF9A3FAC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6242844" y="1631837"/>
            <a:ext cx="5433219" cy="3618392"/>
          </a:xfrm>
        </p:spPr>
        <p:txBody>
          <a:bodyPr rIns="540000"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CDA597C6-0A4F-4BA3-9D9F-D018CC3CEB6B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7611773" y="5634172"/>
            <a:ext cx="1080000" cy="461665"/>
          </a:xfrm>
        </p:spPr>
        <p:txBody>
          <a:bodyPr wrap="square">
            <a:noAutofit/>
          </a:bodyPr>
          <a:lstStyle>
            <a:lvl1pPr algn="l">
              <a:spcAft>
                <a:spcPts val="0"/>
              </a:spcAft>
              <a:defRPr sz="1000"/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02</a:t>
            </a:r>
            <a:br>
              <a:rPr lang="en-US" noProof="0"/>
            </a:br>
            <a:r>
              <a:rPr lang="en-US" noProof="0"/>
              <a:t>Edit master text</a:t>
            </a:r>
          </a:p>
          <a:p>
            <a:pPr lvl="0"/>
            <a:r>
              <a:rPr lang="en-US" noProof="0"/>
              <a:t>format</a:t>
            </a:r>
          </a:p>
          <a:p>
            <a:pPr lvl="0"/>
            <a:endParaRPr lang="en-US" noProof="0"/>
          </a:p>
        </p:txBody>
      </p:sp>
      <p:sp>
        <p:nvSpPr>
          <p:cNvPr id="18" name="Textplatzhalter 3">
            <a:extLst>
              <a:ext uri="{FF2B5EF4-FFF2-40B4-BE49-F238E27FC236}">
                <a16:creationId xmlns:a16="http://schemas.microsoft.com/office/drawing/2014/main" id="{7BB86B27-C1F4-4CF2-B198-5D4BFE7A1B2D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242846" y="5634172"/>
            <a:ext cx="1080000" cy="461665"/>
          </a:xfrm>
        </p:spPr>
        <p:txBody>
          <a:bodyPr wrap="square">
            <a:noAutofit/>
          </a:bodyPr>
          <a:lstStyle>
            <a:lvl1pPr algn="l">
              <a:spcAft>
                <a:spcPts val="0"/>
              </a:spcAft>
              <a:defRPr sz="1000"/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01</a:t>
            </a:r>
            <a:br>
              <a:rPr lang="en-US" noProof="0"/>
            </a:br>
            <a:r>
              <a:rPr lang="en-US" noProof="0"/>
              <a:t>Edit master text</a:t>
            </a:r>
          </a:p>
          <a:p>
            <a:pPr lvl="0"/>
            <a:r>
              <a:rPr lang="en-US" noProof="0"/>
              <a:t>format</a:t>
            </a:r>
          </a:p>
          <a:p>
            <a:pPr lvl="0"/>
            <a:endParaRPr lang="en-US" noProof="0"/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EB97C8C8-4903-4649-A7C4-146F348AE411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2747784" y="5634172"/>
            <a:ext cx="342680" cy="461665"/>
          </a:xfrm>
        </p:spPr>
        <p:txBody>
          <a:bodyPr wrap="none">
            <a:noAutofit/>
          </a:bodyPr>
          <a:lstStyle>
            <a:lvl1pPr algn="l">
              <a:spcAft>
                <a:spcPts val="0"/>
              </a:spcAft>
              <a:defRPr sz="1000">
                <a:solidFill>
                  <a:schemeClr val="bg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01</a:t>
            </a:r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6F952D61-AD88-4D90-9FD3-D4025F3F52B4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5608857" y="5634172"/>
            <a:ext cx="342680" cy="461665"/>
          </a:xfrm>
        </p:spPr>
        <p:txBody>
          <a:bodyPr wrap="none">
            <a:noAutofit/>
          </a:bodyPr>
          <a:lstStyle>
            <a:lvl1pPr algn="l">
              <a:spcAft>
                <a:spcPts val="0"/>
              </a:spcAft>
              <a:defRPr sz="1000">
                <a:solidFill>
                  <a:schemeClr val="bg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01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31A5416F-ED2A-4827-8213-6D1F4A03387B}"/>
              </a:ext>
            </a:extLst>
          </p:cNvPr>
          <p:cNvSpPr>
            <a:spLocks noGrp="1"/>
          </p:cNvSpPr>
          <p:nvPr>
            <p:ph type="dt" sz="half" idx="70"/>
          </p:nvPr>
        </p:nvSpPr>
        <p:spPr/>
        <p:txBody>
          <a:bodyPr/>
          <a:lstStyle/>
          <a:p>
            <a:fld id="{5F34CB99-436C-44DD-A00F-4552AD08113A}" type="datetime3">
              <a:rPr lang="en-US" noProof="0" smtClean="0"/>
              <a:t>4 June 2025</a:t>
            </a:fld>
            <a:endParaRPr lang="en-US" noProof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FBCA377D-1FBB-4BB2-A8B4-C5E06F31771F}"/>
              </a:ext>
            </a:extLst>
          </p:cNvPr>
          <p:cNvSpPr>
            <a:spLocks noGrp="1"/>
          </p:cNvSpPr>
          <p:nvPr>
            <p:ph type="ftr" sz="quarter" idx="7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5D3D571-E499-4DCF-B423-B1E4ADEA9331}"/>
              </a:ext>
            </a:extLst>
          </p:cNvPr>
          <p:cNvSpPr>
            <a:spLocks noGrp="1"/>
          </p:cNvSpPr>
          <p:nvPr>
            <p:ph type="sldNum" sz="quarter" idx="72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791808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- Text Slide | 3x photo, 1x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6E754CB4-F023-45A0-B611-0ED33750D9DF}"/>
              </a:ext>
            </a:extLst>
          </p:cNvPr>
          <p:cNvSpPr>
            <a:spLocks noGrp="1"/>
          </p:cNvSpPr>
          <p:nvPr>
            <p:ph type="pic" sz="quarter" idx="71" hasCustomPrompt="1"/>
          </p:nvPr>
        </p:nvSpPr>
        <p:spPr>
          <a:xfrm>
            <a:off x="6243442" y="1631837"/>
            <a:ext cx="2570061" cy="4460988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en-US" noProof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9" y="299633"/>
            <a:ext cx="9740106" cy="369332"/>
          </a:xfrm>
        </p:spPr>
        <p:txBody>
          <a:bodyPr/>
          <a:lstStyle/>
          <a:p>
            <a:r>
              <a:rPr lang="en-US" noProof="0"/>
              <a:t>Edit Master Cover Format</a:t>
            </a:r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6090A1F3-A7AB-42F7-9FBF-8736DC5882DB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ZEISS Frutiger Next W1G" panose="020B0503040204020203" pitchFamily="34" charset="0"/>
              </a:defRPr>
            </a:lvl1pPr>
          </a:lstStyle>
          <a:p>
            <a:pPr lvl="0"/>
            <a:r>
              <a:rPr lang="en-US" noProof="0" dirty="0"/>
              <a:t>Edit master text format</a:t>
            </a:r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29D348FF-9AC7-4A00-B1A3-468BE3014FEC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9106002" y="1631837"/>
            <a:ext cx="2570061" cy="3618387"/>
          </a:xfrm>
        </p:spPr>
        <p:txBody>
          <a:bodyPr rIns="540000"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08BEA3D8-5EE9-4798-8C5D-DB778BA72105}"/>
              </a:ext>
            </a:extLst>
          </p:cNvPr>
          <p:cNvSpPr>
            <a:spLocks noGrp="1"/>
          </p:cNvSpPr>
          <p:nvPr>
            <p:ph type="pic" sz="quarter" idx="70" hasCustomPrompt="1"/>
          </p:nvPr>
        </p:nvSpPr>
        <p:spPr>
          <a:xfrm>
            <a:off x="518319" y="1631837"/>
            <a:ext cx="2570061" cy="4460988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en-US" noProof="0"/>
              <a:t> </a:t>
            </a:r>
          </a:p>
        </p:txBody>
      </p:sp>
      <p:sp>
        <p:nvSpPr>
          <p:cNvPr id="16" name="Bildplatzhalter 3">
            <a:extLst>
              <a:ext uri="{FF2B5EF4-FFF2-40B4-BE49-F238E27FC236}">
                <a16:creationId xmlns:a16="http://schemas.microsoft.com/office/drawing/2014/main" id="{5D5B8114-B5D9-41DA-B646-7C160DB49805}"/>
              </a:ext>
            </a:extLst>
          </p:cNvPr>
          <p:cNvSpPr>
            <a:spLocks noGrp="1"/>
          </p:cNvSpPr>
          <p:nvPr>
            <p:ph type="pic" sz="quarter" idx="72" hasCustomPrompt="1"/>
          </p:nvPr>
        </p:nvSpPr>
        <p:spPr>
          <a:xfrm>
            <a:off x="3380880" y="1631837"/>
            <a:ext cx="2570061" cy="4460988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en-US" noProof="0"/>
              <a:t> </a:t>
            </a:r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7ADB94BB-27AF-4A29-A952-D0905290E0FA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9106001" y="5634172"/>
            <a:ext cx="2570061" cy="461665"/>
          </a:xfrm>
        </p:spPr>
        <p:txBody>
          <a:bodyPr wrap="square">
            <a:noAutofit/>
          </a:bodyPr>
          <a:lstStyle>
            <a:lvl1pPr algn="l">
              <a:spcAft>
                <a:spcPts val="0"/>
              </a:spcAft>
              <a:defRPr sz="1000"/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Edit master text</a:t>
            </a:r>
          </a:p>
          <a:p>
            <a:pPr lvl="0"/>
            <a:r>
              <a:rPr lang="en-US" noProof="0"/>
              <a:t>format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7A490FC2-3ECF-494E-9668-92EFD2003067}"/>
              </a:ext>
            </a:extLst>
          </p:cNvPr>
          <p:cNvSpPr>
            <a:spLocks noGrp="1"/>
          </p:cNvSpPr>
          <p:nvPr>
            <p:ph type="dt" sz="half" idx="73"/>
          </p:nvPr>
        </p:nvSpPr>
        <p:spPr/>
        <p:txBody>
          <a:bodyPr/>
          <a:lstStyle/>
          <a:p>
            <a:fld id="{5F34CB99-436C-44DD-A00F-4552AD08113A}" type="datetime3">
              <a:rPr lang="en-US" noProof="0" smtClean="0"/>
              <a:t>4 June 2025</a:t>
            </a:fld>
            <a:endParaRPr lang="en-US" noProof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C3EA0103-F5F3-4AB3-8D51-49AE546C6676}"/>
              </a:ext>
            </a:extLst>
          </p:cNvPr>
          <p:cNvSpPr>
            <a:spLocks noGrp="1"/>
          </p:cNvSpPr>
          <p:nvPr>
            <p:ph type="ftr" sz="quarter" idx="74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DCB3E13-73CE-43B1-86CA-645B7248031D}"/>
              </a:ext>
            </a:extLst>
          </p:cNvPr>
          <p:cNvSpPr>
            <a:spLocks noGrp="1"/>
          </p:cNvSpPr>
          <p:nvPr>
            <p:ph type="sldNum" sz="quarter" idx="75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9002050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- Text Slide | 2x photo, 2x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6E754CB4-F023-45A0-B611-0ED33750D9DF}"/>
              </a:ext>
            </a:extLst>
          </p:cNvPr>
          <p:cNvSpPr>
            <a:spLocks noGrp="1"/>
          </p:cNvSpPr>
          <p:nvPr>
            <p:ph type="pic" sz="quarter" idx="71" hasCustomPrompt="1"/>
          </p:nvPr>
        </p:nvSpPr>
        <p:spPr>
          <a:xfrm>
            <a:off x="6243442" y="1631837"/>
            <a:ext cx="2570061" cy="4460988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en-US" noProof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9" y="299633"/>
            <a:ext cx="9740106" cy="369332"/>
          </a:xfrm>
        </p:spPr>
        <p:txBody>
          <a:bodyPr/>
          <a:lstStyle/>
          <a:p>
            <a:r>
              <a:rPr lang="en-US" noProof="0"/>
              <a:t>Edit Master Cover Format</a:t>
            </a:r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6090A1F3-A7AB-42F7-9FBF-8736DC5882DB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ZEISS Frutiger Next W1G" panose="020B0503040204020203" pitchFamily="34" charset="0"/>
              </a:defRPr>
            </a:lvl1pPr>
          </a:lstStyle>
          <a:p>
            <a:pPr lvl="0"/>
            <a:r>
              <a:rPr lang="en-US" noProof="0" dirty="0"/>
              <a:t>Edit master text format</a:t>
            </a:r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29D348FF-9AC7-4A00-B1A3-468BE3014FEC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9106002" y="1631837"/>
            <a:ext cx="2570061" cy="3618387"/>
          </a:xfrm>
        </p:spPr>
        <p:txBody>
          <a:bodyPr rIns="540000"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08BEA3D8-5EE9-4798-8C5D-DB778BA72105}"/>
              </a:ext>
            </a:extLst>
          </p:cNvPr>
          <p:cNvSpPr>
            <a:spLocks noGrp="1"/>
          </p:cNvSpPr>
          <p:nvPr>
            <p:ph type="pic" sz="quarter" idx="70" hasCustomPrompt="1"/>
          </p:nvPr>
        </p:nvSpPr>
        <p:spPr>
          <a:xfrm>
            <a:off x="518319" y="1631837"/>
            <a:ext cx="2570061" cy="4460988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en-US" noProof="0"/>
              <a:t> </a:t>
            </a:r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7ADB94BB-27AF-4A29-A952-D0905290E0FA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9106001" y="5634172"/>
            <a:ext cx="2570061" cy="461665"/>
          </a:xfrm>
        </p:spPr>
        <p:txBody>
          <a:bodyPr wrap="square">
            <a:noAutofit/>
          </a:bodyPr>
          <a:lstStyle>
            <a:lvl1pPr algn="l">
              <a:spcAft>
                <a:spcPts val="0"/>
              </a:spcAft>
              <a:defRPr sz="1000"/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Edit master text</a:t>
            </a:r>
          </a:p>
          <a:p>
            <a:pPr lvl="0"/>
            <a:r>
              <a:rPr lang="en-US" noProof="0"/>
              <a:t>format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4E465F10-F1D4-4895-B962-24BDBDE68DC0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3380880" y="1631837"/>
            <a:ext cx="2570061" cy="3618387"/>
          </a:xfrm>
        </p:spPr>
        <p:txBody>
          <a:bodyPr rIns="540000"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BD1C0236-2D51-4C28-B36B-9C19644B9B5F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3380880" y="5634172"/>
            <a:ext cx="2570061" cy="461665"/>
          </a:xfrm>
        </p:spPr>
        <p:txBody>
          <a:bodyPr wrap="square">
            <a:noAutofit/>
          </a:bodyPr>
          <a:lstStyle>
            <a:lvl1pPr algn="l">
              <a:spcAft>
                <a:spcPts val="0"/>
              </a:spcAft>
              <a:defRPr sz="1000"/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Edit master text</a:t>
            </a:r>
          </a:p>
          <a:p>
            <a:pPr lvl="0"/>
            <a:r>
              <a:rPr lang="en-US" noProof="0"/>
              <a:t>format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2EB0406-6104-45B2-A50D-9622CC2F9814}"/>
              </a:ext>
            </a:extLst>
          </p:cNvPr>
          <p:cNvSpPr>
            <a:spLocks noGrp="1"/>
          </p:cNvSpPr>
          <p:nvPr>
            <p:ph type="dt" sz="half" idx="74"/>
          </p:nvPr>
        </p:nvSpPr>
        <p:spPr/>
        <p:txBody>
          <a:bodyPr/>
          <a:lstStyle/>
          <a:p>
            <a:fld id="{5F34CB99-436C-44DD-A00F-4552AD08113A}" type="datetime3">
              <a:rPr lang="en-US" noProof="0" smtClean="0"/>
              <a:t>4 June 2025</a:t>
            </a:fld>
            <a:endParaRPr lang="en-US" noProof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C8955648-6AE2-4E7D-AF06-075C42F72E70}"/>
              </a:ext>
            </a:extLst>
          </p:cNvPr>
          <p:cNvSpPr>
            <a:spLocks noGrp="1"/>
          </p:cNvSpPr>
          <p:nvPr>
            <p:ph type="ftr" sz="quarter" idx="75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263E9CF-BBE6-461D-8930-7D7E43D3BC6F}"/>
              </a:ext>
            </a:extLst>
          </p:cNvPr>
          <p:cNvSpPr>
            <a:spLocks noGrp="1"/>
          </p:cNvSpPr>
          <p:nvPr>
            <p:ph type="sldNum" sz="quarter" idx="76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9584938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- Text Slide | 2x photo, 2x text - between each ot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9" y="299633"/>
            <a:ext cx="9740106" cy="369332"/>
          </a:xfrm>
        </p:spPr>
        <p:txBody>
          <a:bodyPr/>
          <a:lstStyle/>
          <a:p>
            <a:r>
              <a:rPr lang="en-US" noProof="0"/>
              <a:t>Edit Master Cover Format</a:t>
            </a:r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A276B4CC-8E3B-49AA-A6D3-2C309ED8CFEE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ZEISS Frutiger Next W1G" panose="020B0503040204020203" pitchFamily="34" charset="0"/>
              </a:defRPr>
            </a:lvl1pPr>
          </a:lstStyle>
          <a:p>
            <a:pPr lvl="0"/>
            <a:r>
              <a:rPr lang="en-US" noProof="0" dirty="0"/>
              <a:t>Edit master text format</a:t>
            </a:r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2A5093DB-E40A-443C-AE2F-5BD6332BA4DD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242844" y="1631837"/>
            <a:ext cx="5433219" cy="2086521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2" name="Textplatzhalter 3">
            <a:extLst>
              <a:ext uri="{FF2B5EF4-FFF2-40B4-BE49-F238E27FC236}">
                <a16:creationId xmlns:a16="http://schemas.microsoft.com/office/drawing/2014/main" id="{8E5BB036-1A1C-4EB9-AF21-69D3C12FF402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6242844" y="4006299"/>
            <a:ext cx="5433219" cy="2086521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773FBE26-823C-44A4-9918-6F7FC142C360}"/>
              </a:ext>
            </a:extLst>
          </p:cNvPr>
          <p:cNvSpPr>
            <a:spLocks noGrp="1"/>
          </p:cNvSpPr>
          <p:nvPr>
            <p:ph type="pic" sz="quarter" idx="72" hasCustomPrompt="1"/>
          </p:nvPr>
        </p:nvSpPr>
        <p:spPr>
          <a:xfrm>
            <a:off x="518318" y="1631837"/>
            <a:ext cx="5433219" cy="2086517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en-US" noProof="0"/>
              <a:t> </a:t>
            </a:r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F2E74611-DA65-4DA5-8289-B430E76A77AF}"/>
              </a:ext>
            </a:extLst>
          </p:cNvPr>
          <p:cNvSpPr>
            <a:spLocks noGrp="1"/>
          </p:cNvSpPr>
          <p:nvPr>
            <p:ph type="pic" sz="quarter" idx="73" hasCustomPrompt="1"/>
          </p:nvPr>
        </p:nvSpPr>
        <p:spPr>
          <a:xfrm>
            <a:off x="518318" y="4006299"/>
            <a:ext cx="5433219" cy="2086517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en-US" noProof="0"/>
              <a:t> 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12E85E68-330A-4FD4-A107-DEF789FA03C2}"/>
              </a:ext>
            </a:extLst>
          </p:cNvPr>
          <p:cNvSpPr>
            <a:spLocks noGrp="1"/>
          </p:cNvSpPr>
          <p:nvPr>
            <p:ph type="dt" sz="half" idx="74"/>
          </p:nvPr>
        </p:nvSpPr>
        <p:spPr/>
        <p:txBody>
          <a:bodyPr/>
          <a:lstStyle/>
          <a:p>
            <a:fld id="{5F34CB99-436C-44DD-A00F-4552AD08113A}" type="datetime3">
              <a:rPr lang="en-US" noProof="0" smtClean="0"/>
              <a:t>4 June 2025</a:t>
            </a:fld>
            <a:endParaRPr lang="en-US" noProof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69F9DD4-74C0-4F0C-9870-B0E1081913FB}"/>
              </a:ext>
            </a:extLst>
          </p:cNvPr>
          <p:cNvSpPr>
            <a:spLocks noGrp="1"/>
          </p:cNvSpPr>
          <p:nvPr>
            <p:ph type="ftr" sz="quarter" idx="75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0D1DE772-7157-494D-B316-91775406AF1A}"/>
              </a:ext>
            </a:extLst>
          </p:cNvPr>
          <p:cNvSpPr>
            <a:spLocks noGrp="1"/>
          </p:cNvSpPr>
          <p:nvPr>
            <p:ph type="sldNum" sz="quarter" idx="76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039462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 | Externa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92DD91-EAE8-4850-A1F1-29F8A7A57D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9" y="2213089"/>
            <a:ext cx="11157744" cy="738664"/>
          </a:xfrm>
        </p:spPr>
        <p:txBody>
          <a:bodyPr anchor="b" anchorCtr="0"/>
          <a:lstStyle>
            <a:lvl1pPr>
              <a:defRPr sz="4800"/>
            </a:lvl1pPr>
          </a:lstStyle>
          <a:p>
            <a:r>
              <a:rPr lang="en-US" noProof="0" dirty="0"/>
              <a:t>Edit Master Cover Format</a:t>
            </a:r>
          </a:p>
        </p:txBody>
      </p:sp>
      <p:sp>
        <p:nvSpPr>
          <p:cNvPr id="26" name="Textplatzhalter 8">
            <a:extLst>
              <a:ext uri="{FF2B5EF4-FFF2-40B4-BE49-F238E27FC236}">
                <a16:creationId xmlns:a16="http://schemas.microsoft.com/office/drawing/2014/main" id="{F52AEE9E-B08F-4C0A-BEEE-04C7FFB48E7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9" y="2872085"/>
            <a:ext cx="11157744" cy="738664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4800">
                <a:latin typeface="ZEISS Frutiger Next W1G"/>
                <a:cs typeface="ZEISS Frutiger Next W1G" panose="020B0503040204020203" pitchFamily="34" charset="0"/>
              </a:defRPr>
            </a:lvl1pPr>
          </a:lstStyle>
          <a:p>
            <a:pPr lvl="0"/>
            <a:r>
              <a:rPr lang="en-US" noProof="0" dirty="0"/>
              <a:t>Edit master text format</a:t>
            </a:r>
          </a:p>
        </p:txBody>
      </p:sp>
      <p:sp>
        <p:nvSpPr>
          <p:cNvPr id="51" name="Textplatzhalter 14">
            <a:extLst>
              <a:ext uri="{FF2B5EF4-FFF2-40B4-BE49-F238E27FC236}">
                <a16:creationId xmlns:a16="http://schemas.microsoft.com/office/drawing/2014/main" id="{501BEDEB-A8AE-4EFD-9CDF-207454EBAE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9" y="4963183"/>
            <a:ext cx="4319999" cy="184666"/>
          </a:xfrm>
        </p:spPr>
        <p:txBody>
          <a:bodyPr>
            <a:spAutoFit/>
          </a:bodyPr>
          <a:lstStyle>
            <a:lvl1pPr>
              <a:defRPr sz="12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Author</a:t>
            </a:r>
          </a:p>
        </p:txBody>
      </p:sp>
      <p:sp>
        <p:nvSpPr>
          <p:cNvPr id="52" name="Textplatzhalter 14">
            <a:extLst>
              <a:ext uri="{FF2B5EF4-FFF2-40B4-BE49-F238E27FC236}">
                <a16:creationId xmlns:a16="http://schemas.microsoft.com/office/drawing/2014/main" id="{D7F978A2-D352-4AAC-BEB1-0402A13EE71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9" y="5139395"/>
            <a:ext cx="4319999" cy="184666"/>
          </a:xfrm>
        </p:spPr>
        <p:txBody>
          <a:bodyPr>
            <a:spAutoFit/>
          </a:bodyPr>
          <a:lstStyle>
            <a:lvl1pPr>
              <a:defRPr sz="12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Department</a:t>
            </a:r>
          </a:p>
        </p:txBody>
      </p:sp>
      <p:cxnSp>
        <p:nvCxnSpPr>
          <p:cNvPr id="53" name="Gerade Verbindung 22">
            <a:extLst>
              <a:ext uri="{FF2B5EF4-FFF2-40B4-BE49-F238E27FC236}">
                <a16:creationId xmlns:a16="http://schemas.microsoft.com/office/drawing/2014/main" id="{9D058BB7-35BD-4743-A2CE-335778ABA86A}"/>
              </a:ext>
            </a:extLst>
          </p:cNvPr>
          <p:cNvCxnSpPr>
            <a:cxnSpLocks/>
          </p:cNvCxnSpPr>
          <p:nvPr/>
        </p:nvCxnSpPr>
        <p:spPr>
          <a:xfrm>
            <a:off x="518319" y="4887206"/>
            <a:ext cx="4319998" cy="0"/>
          </a:xfrm>
          <a:prstGeom prst="line">
            <a:avLst/>
          </a:prstGeom>
          <a:ln w="6350">
            <a:solidFill>
              <a:srgbClr val="DCE3E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22">
            <a:extLst>
              <a:ext uri="{FF2B5EF4-FFF2-40B4-BE49-F238E27FC236}">
                <a16:creationId xmlns:a16="http://schemas.microsoft.com/office/drawing/2014/main" id="{B1AAF8F8-2819-4C84-B15F-6801F5454C9E}"/>
              </a:ext>
            </a:extLst>
          </p:cNvPr>
          <p:cNvCxnSpPr>
            <a:cxnSpLocks/>
          </p:cNvCxnSpPr>
          <p:nvPr/>
        </p:nvCxnSpPr>
        <p:spPr>
          <a:xfrm>
            <a:off x="518319" y="5575864"/>
            <a:ext cx="4319998" cy="0"/>
          </a:xfrm>
          <a:prstGeom prst="line">
            <a:avLst/>
          </a:prstGeom>
          <a:ln w="6350">
            <a:solidFill>
              <a:srgbClr val="DCE3E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22">
            <a:extLst>
              <a:ext uri="{FF2B5EF4-FFF2-40B4-BE49-F238E27FC236}">
                <a16:creationId xmlns:a16="http://schemas.microsoft.com/office/drawing/2014/main" id="{9BD901D7-DE81-4C82-B0AD-09E48E69503F}"/>
              </a:ext>
            </a:extLst>
          </p:cNvPr>
          <p:cNvCxnSpPr>
            <a:cxnSpLocks/>
          </p:cNvCxnSpPr>
          <p:nvPr/>
        </p:nvCxnSpPr>
        <p:spPr>
          <a:xfrm>
            <a:off x="518319" y="6093705"/>
            <a:ext cx="4319998" cy="0"/>
          </a:xfrm>
          <a:prstGeom prst="line">
            <a:avLst/>
          </a:prstGeom>
          <a:ln w="6350">
            <a:solidFill>
              <a:srgbClr val="D0D0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22">
            <a:extLst>
              <a:ext uri="{FF2B5EF4-FFF2-40B4-BE49-F238E27FC236}">
                <a16:creationId xmlns:a16="http://schemas.microsoft.com/office/drawing/2014/main" id="{89ECB648-6558-4C1A-B652-7EF5CAECC96D}"/>
              </a:ext>
            </a:extLst>
          </p:cNvPr>
          <p:cNvCxnSpPr>
            <a:cxnSpLocks/>
          </p:cNvCxnSpPr>
          <p:nvPr/>
        </p:nvCxnSpPr>
        <p:spPr>
          <a:xfrm>
            <a:off x="518319" y="6093705"/>
            <a:ext cx="4319998" cy="0"/>
          </a:xfrm>
          <a:prstGeom prst="line">
            <a:avLst/>
          </a:prstGeom>
          <a:ln w="6350">
            <a:solidFill>
              <a:srgbClr val="DCE3E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Datumsplatzhalter 1">
            <a:extLst>
              <a:ext uri="{FF2B5EF4-FFF2-40B4-BE49-F238E27FC236}">
                <a16:creationId xmlns:a16="http://schemas.microsoft.com/office/drawing/2014/main" id="{EE9F5FC6-0FA4-4F34-B64C-5B688B67F16F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518319" y="5651841"/>
            <a:ext cx="1133324" cy="184666"/>
          </a:xfrm>
        </p:spPr>
        <p:txBody>
          <a:bodyPr vert="horz" wrap="none" lIns="0" tIns="0" rIns="0" bIns="0" rtlCol="0" anchor="t" anchorCtr="0">
            <a:spAutoFit/>
          </a:bodyPr>
          <a:lstStyle>
            <a:lvl1pPr>
              <a:defRPr lang="de-DE" sz="1200" b="1" smtClean="0">
                <a:cs typeface="+mn-cs"/>
              </a:defRPr>
            </a:lvl1pPr>
          </a:lstStyle>
          <a:p>
            <a:pPr>
              <a:spcAft>
                <a:spcPts val="800"/>
              </a:spcAft>
              <a:buFont typeface="Arial" panose="020B0604020202020204" pitchFamily="34" charset="0"/>
              <a:buNone/>
            </a:pPr>
            <a:fld id="{A9706585-AC5A-476D-AF57-7F7022BE23D2}" type="datetime3">
              <a:rPr lang="en-US" noProof="0" smtClean="0"/>
              <a:t>4 June 2025</a:t>
            </a:fld>
            <a:endParaRPr lang="en-US" noProof="0"/>
          </a:p>
        </p:txBody>
      </p: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1D4941A1-E16F-436C-B7AD-5926120C20F7}"/>
              </a:ext>
            </a:extLst>
          </p:cNvPr>
          <p:cNvGrpSpPr/>
          <p:nvPr/>
        </p:nvGrpSpPr>
        <p:grpSpPr>
          <a:xfrm>
            <a:off x="304116" y="-697714"/>
            <a:ext cx="11370764" cy="411957"/>
            <a:chOff x="304116" y="6944502"/>
            <a:chExt cx="11370764" cy="411957"/>
          </a:xfrm>
        </p:grpSpPr>
        <p:grpSp>
          <p:nvGrpSpPr>
            <p:cNvPr id="64" name="Gruppieren 63">
              <a:extLst>
                <a:ext uri="{FF2B5EF4-FFF2-40B4-BE49-F238E27FC236}">
                  <a16:creationId xmlns:a16="http://schemas.microsoft.com/office/drawing/2014/main" id="{95CCCA0A-4F6D-4997-9A71-0915AACC6F6A}"/>
                </a:ext>
              </a:extLst>
            </p:cNvPr>
            <p:cNvGrpSpPr/>
            <p:nvPr/>
          </p:nvGrpSpPr>
          <p:grpSpPr>
            <a:xfrm rot="16200000">
              <a:off x="204049" y="7044570"/>
              <a:ext cx="411956" cy="211821"/>
              <a:chOff x="-615197" y="4299854"/>
              <a:chExt cx="411956" cy="211821"/>
            </a:xfrm>
          </p:grpSpPr>
          <p:cxnSp>
            <p:nvCxnSpPr>
              <p:cNvPr id="76" name="Gerader Verbinder 75">
                <a:extLst>
                  <a:ext uri="{FF2B5EF4-FFF2-40B4-BE49-F238E27FC236}">
                    <a16:creationId xmlns:a16="http://schemas.microsoft.com/office/drawing/2014/main" id="{BBE0F306-8FF4-46DC-BD57-04D346D83B9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7" name="Textfeld 76">
                <a:extLst>
                  <a:ext uri="{FF2B5EF4-FFF2-40B4-BE49-F238E27FC236}">
                    <a16:creationId xmlns:a16="http://schemas.microsoft.com/office/drawing/2014/main" id="{DF8AA836-E204-45C8-A84A-347CF0F2E88C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15.50</a:t>
                </a:r>
              </a:p>
            </p:txBody>
          </p:sp>
        </p:grpSp>
        <p:grpSp>
          <p:nvGrpSpPr>
            <p:cNvPr id="65" name="Gruppieren 64">
              <a:extLst>
                <a:ext uri="{FF2B5EF4-FFF2-40B4-BE49-F238E27FC236}">
                  <a16:creationId xmlns:a16="http://schemas.microsoft.com/office/drawing/2014/main" id="{B2A1AFF6-18DA-4260-B554-1F8AAFF2618F}"/>
                </a:ext>
              </a:extLst>
            </p:cNvPr>
            <p:cNvGrpSpPr/>
            <p:nvPr/>
          </p:nvGrpSpPr>
          <p:grpSpPr>
            <a:xfrm rot="16200000">
              <a:off x="5639649" y="7044570"/>
              <a:ext cx="411956" cy="211821"/>
              <a:chOff x="-615197" y="4299854"/>
              <a:chExt cx="411956" cy="211821"/>
            </a:xfrm>
          </p:grpSpPr>
          <p:cxnSp>
            <p:nvCxnSpPr>
              <p:cNvPr id="74" name="Gerader Verbinder 73">
                <a:extLst>
                  <a:ext uri="{FF2B5EF4-FFF2-40B4-BE49-F238E27FC236}">
                    <a16:creationId xmlns:a16="http://schemas.microsoft.com/office/drawing/2014/main" id="{06D33D7D-808B-4D3C-A71C-C8C2B187F6F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5" name="Textfeld 74">
                <a:extLst>
                  <a:ext uri="{FF2B5EF4-FFF2-40B4-BE49-F238E27FC236}">
                    <a16:creationId xmlns:a16="http://schemas.microsoft.com/office/drawing/2014/main" id="{A5131992-EBCC-4736-8FD2-852B17A6E878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0.40</a:t>
                </a:r>
              </a:p>
            </p:txBody>
          </p:sp>
        </p:grpSp>
        <p:grpSp>
          <p:nvGrpSpPr>
            <p:cNvPr id="67" name="Gruppieren 66">
              <a:extLst>
                <a:ext uri="{FF2B5EF4-FFF2-40B4-BE49-F238E27FC236}">
                  <a16:creationId xmlns:a16="http://schemas.microsoft.com/office/drawing/2014/main" id="{4F59310F-D730-49AD-922B-07279D1FB3EE}"/>
                </a:ext>
              </a:extLst>
            </p:cNvPr>
            <p:cNvGrpSpPr/>
            <p:nvPr/>
          </p:nvGrpSpPr>
          <p:grpSpPr>
            <a:xfrm rot="5400000">
              <a:off x="6093326" y="7046990"/>
              <a:ext cx="411956" cy="206980"/>
              <a:chOff x="-615197" y="4350961"/>
              <a:chExt cx="411956" cy="206980"/>
            </a:xfrm>
          </p:grpSpPr>
          <p:cxnSp>
            <p:nvCxnSpPr>
              <p:cNvPr id="72" name="Gerader Verbinder 71">
                <a:extLst>
                  <a:ext uri="{FF2B5EF4-FFF2-40B4-BE49-F238E27FC236}">
                    <a16:creationId xmlns:a16="http://schemas.microsoft.com/office/drawing/2014/main" id="{BAF3ED95-E7C8-4B55-8940-22FEDE14E0A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3" name="Textfeld 72">
                <a:extLst>
                  <a:ext uri="{FF2B5EF4-FFF2-40B4-BE49-F238E27FC236}">
                    <a16:creationId xmlns:a16="http://schemas.microsoft.com/office/drawing/2014/main" id="{FE1BC04F-5639-4896-A878-B286A36F4509}"/>
                  </a:ext>
                </a:extLst>
              </p:cNvPr>
              <p:cNvSpPr txBox="1"/>
              <p:nvPr/>
            </p:nvSpPr>
            <p:spPr>
              <a:xfrm rot="10800000">
                <a:off x="-615197" y="4350961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0.40</a:t>
                </a:r>
              </a:p>
            </p:txBody>
          </p:sp>
        </p:grpSp>
        <p:cxnSp>
          <p:nvCxnSpPr>
            <p:cNvPr id="68" name="Gerader Verbinder 67">
              <a:extLst>
                <a:ext uri="{FF2B5EF4-FFF2-40B4-BE49-F238E27FC236}">
                  <a16:creationId xmlns:a16="http://schemas.microsoft.com/office/drawing/2014/main" id="{3E2AC791-FB90-4350-A0FB-480413CBEBBE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5890022" y="7150480"/>
              <a:ext cx="411956" cy="0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9" name="Gruppieren 68">
              <a:extLst>
                <a:ext uri="{FF2B5EF4-FFF2-40B4-BE49-F238E27FC236}">
                  <a16:creationId xmlns:a16="http://schemas.microsoft.com/office/drawing/2014/main" id="{F8C55E8A-1695-4EB7-B0FA-028246175A48}"/>
                </a:ext>
              </a:extLst>
            </p:cNvPr>
            <p:cNvGrpSpPr/>
            <p:nvPr/>
          </p:nvGrpSpPr>
          <p:grpSpPr>
            <a:xfrm rot="16200000">
              <a:off x="11362992" y="7044570"/>
              <a:ext cx="411956" cy="211821"/>
              <a:chOff x="-615197" y="4299854"/>
              <a:chExt cx="411956" cy="211821"/>
            </a:xfrm>
          </p:grpSpPr>
          <p:cxnSp>
            <p:nvCxnSpPr>
              <p:cNvPr id="70" name="Gerader Verbinder 69">
                <a:extLst>
                  <a:ext uri="{FF2B5EF4-FFF2-40B4-BE49-F238E27FC236}">
                    <a16:creationId xmlns:a16="http://schemas.microsoft.com/office/drawing/2014/main" id="{89CF513B-B72E-4830-B4B4-EFAF3A4CAC4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1" name="Textfeld 70">
                <a:extLst>
                  <a:ext uri="{FF2B5EF4-FFF2-40B4-BE49-F238E27FC236}">
                    <a16:creationId xmlns:a16="http://schemas.microsoft.com/office/drawing/2014/main" id="{29F7348A-D846-4A7B-84FF-B5860DF1D52F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15.50</a:t>
                </a:r>
              </a:p>
            </p:txBody>
          </p:sp>
        </p:grpSp>
      </p:grpSp>
      <p:grpSp>
        <p:nvGrpSpPr>
          <p:cNvPr id="78" name="Gruppieren 77">
            <a:extLst>
              <a:ext uri="{FF2B5EF4-FFF2-40B4-BE49-F238E27FC236}">
                <a16:creationId xmlns:a16="http://schemas.microsoft.com/office/drawing/2014/main" id="{85F835F7-B840-47AB-A1B3-17BE3A5B6CBB}"/>
              </a:ext>
            </a:extLst>
          </p:cNvPr>
          <p:cNvGrpSpPr/>
          <p:nvPr/>
        </p:nvGrpSpPr>
        <p:grpSpPr>
          <a:xfrm>
            <a:off x="-697714" y="80201"/>
            <a:ext cx="411956" cy="6720119"/>
            <a:chOff x="-502267" y="80201"/>
            <a:chExt cx="411956" cy="6720119"/>
          </a:xfrm>
        </p:grpSpPr>
        <p:grpSp>
          <p:nvGrpSpPr>
            <p:cNvPr id="79" name="Gruppieren 78">
              <a:extLst>
                <a:ext uri="{FF2B5EF4-FFF2-40B4-BE49-F238E27FC236}">
                  <a16:creationId xmlns:a16="http://schemas.microsoft.com/office/drawing/2014/main" id="{CD9F2635-2714-451B-B3EC-2CDDDDE763CA}"/>
                </a:ext>
              </a:extLst>
            </p:cNvPr>
            <p:cNvGrpSpPr/>
            <p:nvPr/>
          </p:nvGrpSpPr>
          <p:grpSpPr>
            <a:xfrm>
              <a:off x="-502267" y="6593340"/>
              <a:ext cx="411956" cy="206980"/>
              <a:chOff x="-615197" y="4452994"/>
              <a:chExt cx="411956" cy="206980"/>
            </a:xfrm>
          </p:grpSpPr>
          <p:sp>
            <p:nvSpPr>
              <p:cNvPr id="96" name="Textfeld 95">
                <a:extLst>
                  <a:ext uri="{FF2B5EF4-FFF2-40B4-BE49-F238E27FC236}">
                    <a16:creationId xmlns:a16="http://schemas.microsoft.com/office/drawing/2014/main" id="{6F05125A-AE71-4489-B42C-56B823A5FEF7}"/>
                  </a:ext>
                </a:extLst>
              </p:cNvPr>
              <p:cNvSpPr txBox="1"/>
              <p:nvPr/>
            </p:nvSpPr>
            <p:spPr>
              <a:xfrm>
                <a:off x="-615197" y="445299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8.92</a:t>
                </a:r>
              </a:p>
            </p:txBody>
          </p:sp>
          <p:cxnSp>
            <p:nvCxnSpPr>
              <p:cNvPr id="97" name="Gerader Verbinder 96">
                <a:extLst>
                  <a:ext uri="{FF2B5EF4-FFF2-40B4-BE49-F238E27FC236}">
                    <a16:creationId xmlns:a16="http://schemas.microsoft.com/office/drawing/2014/main" id="{94B8D4D5-C4A9-4531-8EF2-7DBA992A61D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97389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0" name="Gruppieren 79">
              <a:extLst>
                <a:ext uri="{FF2B5EF4-FFF2-40B4-BE49-F238E27FC236}">
                  <a16:creationId xmlns:a16="http://schemas.microsoft.com/office/drawing/2014/main" id="{09FDA9E0-86FD-4180-B6B6-C1037A995460}"/>
                </a:ext>
              </a:extLst>
            </p:cNvPr>
            <p:cNvGrpSpPr/>
            <p:nvPr/>
          </p:nvGrpSpPr>
          <p:grpSpPr>
            <a:xfrm>
              <a:off x="-502267" y="5876163"/>
              <a:ext cx="411956" cy="216662"/>
              <a:chOff x="-615197" y="4295013"/>
              <a:chExt cx="411956" cy="216662"/>
            </a:xfrm>
          </p:grpSpPr>
          <p:cxnSp>
            <p:nvCxnSpPr>
              <p:cNvPr id="94" name="Gerader Verbinder 93">
                <a:extLst>
                  <a:ext uri="{FF2B5EF4-FFF2-40B4-BE49-F238E27FC236}">
                    <a16:creationId xmlns:a16="http://schemas.microsoft.com/office/drawing/2014/main" id="{28C14BFC-3126-4072-924E-B0CD7E66FA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5" name="Textfeld 94">
                <a:extLst>
                  <a:ext uri="{FF2B5EF4-FFF2-40B4-BE49-F238E27FC236}">
                    <a16:creationId xmlns:a16="http://schemas.microsoft.com/office/drawing/2014/main" id="{225CD528-02F8-458D-AC8C-B407D651922D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7.40</a:t>
                </a:r>
              </a:p>
            </p:txBody>
          </p:sp>
        </p:grpSp>
        <p:grpSp>
          <p:nvGrpSpPr>
            <p:cNvPr id="81" name="Gruppieren 80">
              <a:extLst>
                <a:ext uri="{FF2B5EF4-FFF2-40B4-BE49-F238E27FC236}">
                  <a16:creationId xmlns:a16="http://schemas.microsoft.com/office/drawing/2014/main" id="{46628741-3FF3-48C4-8A78-528C28C46B2E}"/>
                </a:ext>
              </a:extLst>
            </p:cNvPr>
            <p:cNvGrpSpPr/>
            <p:nvPr/>
          </p:nvGrpSpPr>
          <p:grpSpPr>
            <a:xfrm>
              <a:off x="-502267" y="3212338"/>
              <a:ext cx="411956" cy="216662"/>
              <a:chOff x="-615197" y="4295013"/>
              <a:chExt cx="411956" cy="216662"/>
            </a:xfrm>
          </p:grpSpPr>
          <p:cxnSp>
            <p:nvCxnSpPr>
              <p:cNvPr id="92" name="Gerader Verbinder 91">
                <a:extLst>
                  <a:ext uri="{FF2B5EF4-FFF2-40B4-BE49-F238E27FC236}">
                    <a16:creationId xmlns:a16="http://schemas.microsoft.com/office/drawing/2014/main" id="{FF7CD634-2671-47DC-A684-D9B7F3ECECF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3" name="Textfeld 92">
                <a:extLst>
                  <a:ext uri="{FF2B5EF4-FFF2-40B4-BE49-F238E27FC236}">
                    <a16:creationId xmlns:a16="http://schemas.microsoft.com/office/drawing/2014/main" id="{260213D2-A004-41CD-97B1-273DC2FCE829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0.00</a:t>
                </a:r>
              </a:p>
            </p:txBody>
          </p:sp>
        </p:grpSp>
        <p:grpSp>
          <p:nvGrpSpPr>
            <p:cNvPr id="82" name="Gruppieren 81">
              <a:extLst>
                <a:ext uri="{FF2B5EF4-FFF2-40B4-BE49-F238E27FC236}">
                  <a16:creationId xmlns:a16="http://schemas.microsoft.com/office/drawing/2014/main" id="{953DA4E8-5496-4A61-BFC5-F3B23C49B35D}"/>
                </a:ext>
              </a:extLst>
            </p:cNvPr>
            <p:cNvGrpSpPr/>
            <p:nvPr/>
          </p:nvGrpSpPr>
          <p:grpSpPr>
            <a:xfrm>
              <a:off x="-502267" y="835851"/>
              <a:ext cx="411956" cy="216662"/>
              <a:chOff x="-615197" y="4295013"/>
              <a:chExt cx="411956" cy="216662"/>
            </a:xfrm>
          </p:grpSpPr>
          <p:cxnSp>
            <p:nvCxnSpPr>
              <p:cNvPr id="90" name="Gerader Verbinder 89">
                <a:extLst>
                  <a:ext uri="{FF2B5EF4-FFF2-40B4-BE49-F238E27FC236}">
                    <a16:creationId xmlns:a16="http://schemas.microsoft.com/office/drawing/2014/main" id="{111CB93E-7D30-4866-BB78-2BE66CAF026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1" name="Textfeld 90">
                <a:extLst>
                  <a:ext uri="{FF2B5EF4-FFF2-40B4-BE49-F238E27FC236}">
                    <a16:creationId xmlns:a16="http://schemas.microsoft.com/office/drawing/2014/main" id="{F712AFB8-35E9-48CB-A3D3-414A85A06375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6.60</a:t>
                </a:r>
              </a:p>
            </p:txBody>
          </p:sp>
        </p:grpSp>
        <p:grpSp>
          <p:nvGrpSpPr>
            <p:cNvPr id="84" name="Gruppieren 83">
              <a:extLst>
                <a:ext uri="{FF2B5EF4-FFF2-40B4-BE49-F238E27FC236}">
                  <a16:creationId xmlns:a16="http://schemas.microsoft.com/office/drawing/2014/main" id="{788084EB-31A7-4A3A-A652-65DD7C8CE915}"/>
                </a:ext>
              </a:extLst>
            </p:cNvPr>
            <p:cNvGrpSpPr/>
            <p:nvPr/>
          </p:nvGrpSpPr>
          <p:grpSpPr>
            <a:xfrm>
              <a:off x="-502267" y="1412113"/>
              <a:ext cx="411956" cy="216662"/>
              <a:chOff x="-615197" y="4295013"/>
              <a:chExt cx="411956" cy="216662"/>
            </a:xfrm>
          </p:grpSpPr>
          <p:cxnSp>
            <p:nvCxnSpPr>
              <p:cNvPr id="88" name="Gerader Verbinder 87">
                <a:extLst>
                  <a:ext uri="{FF2B5EF4-FFF2-40B4-BE49-F238E27FC236}">
                    <a16:creationId xmlns:a16="http://schemas.microsoft.com/office/drawing/2014/main" id="{2FFFAE39-7E6A-422B-BF9F-192123EF40B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9" name="Textfeld 88">
                <a:extLst>
                  <a:ext uri="{FF2B5EF4-FFF2-40B4-BE49-F238E27FC236}">
                    <a16:creationId xmlns:a16="http://schemas.microsoft.com/office/drawing/2014/main" id="{45325641-A15F-43D5-A0BA-0E7545705EF2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5.00</a:t>
                </a:r>
              </a:p>
            </p:txBody>
          </p:sp>
        </p:grpSp>
        <p:grpSp>
          <p:nvGrpSpPr>
            <p:cNvPr id="85" name="Gruppieren 84">
              <a:extLst>
                <a:ext uri="{FF2B5EF4-FFF2-40B4-BE49-F238E27FC236}">
                  <a16:creationId xmlns:a16="http://schemas.microsoft.com/office/drawing/2014/main" id="{8982A394-83B7-4E8A-BBE7-797059D2DA27}"/>
                </a:ext>
              </a:extLst>
            </p:cNvPr>
            <p:cNvGrpSpPr/>
            <p:nvPr/>
          </p:nvGrpSpPr>
          <p:grpSpPr>
            <a:xfrm>
              <a:off x="-502267" y="80201"/>
              <a:ext cx="411956" cy="216662"/>
              <a:chOff x="-615197" y="4258501"/>
              <a:chExt cx="411956" cy="216662"/>
            </a:xfrm>
          </p:grpSpPr>
          <p:cxnSp>
            <p:nvCxnSpPr>
              <p:cNvPr id="86" name="Gerader Verbinder 85">
                <a:extLst>
                  <a:ext uri="{FF2B5EF4-FFF2-40B4-BE49-F238E27FC236}">
                    <a16:creationId xmlns:a16="http://schemas.microsoft.com/office/drawing/2014/main" id="{7F71B877-275A-445C-8F5C-EB18E472995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75163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7" name="Textfeld 86">
                <a:extLst>
                  <a:ext uri="{FF2B5EF4-FFF2-40B4-BE49-F238E27FC236}">
                    <a16:creationId xmlns:a16="http://schemas.microsoft.com/office/drawing/2014/main" id="{7F5DD554-B779-44BB-8F67-8F28A4AE5F44}"/>
                  </a:ext>
                </a:extLst>
              </p:cNvPr>
              <p:cNvSpPr txBox="1"/>
              <p:nvPr/>
            </p:nvSpPr>
            <p:spPr>
              <a:xfrm>
                <a:off x="-615197" y="4258501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8.70</a:t>
                </a:r>
              </a:p>
            </p:txBody>
          </p:sp>
        </p:grpSp>
      </p:grp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473934A3-4C97-486C-C23A-AEB869AD3706}"/>
              </a:ext>
            </a:extLst>
          </p:cNvPr>
          <p:cNvGrpSpPr/>
          <p:nvPr/>
        </p:nvGrpSpPr>
        <p:grpSpPr>
          <a:xfrm>
            <a:off x="11170442" y="299244"/>
            <a:ext cx="505400" cy="505400"/>
            <a:chOff x="5423248" y="2756248"/>
            <a:chExt cx="1349978" cy="1349978"/>
          </a:xfrm>
        </p:grpSpPr>
        <p:sp>
          <p:nvSpPr>
            <p:cNvPr id="5" name="Freihandform: Form 4">
              <a:extLst>
                <a:ext uri="{FF2B5EF4-FFF2-40B4-BE49-F238E27FC236}">
                  <a16:creationId xmlns:a16="http://schemas.microsoft.com/office/drawing/2014/main" id="{A4B7860A-FFAE-B267-41B5-A36053F74837}"/>
                </a:ext>
              </a:extLst>
            </p:cNvPr>
            <p:cNvSpPr/>
            <p:nvPr/>
          </p:nvSpPr>
          <p:spPr>
            <a:xfrm>
              <a:off x="5423248" y="2756248"/>
              <a:ext cx="1349978" cy="1349978"/>
            </a:xfrm>
            <a:custGeom>
              <a:avLst/>
              <a:gdLst>
                <a:gd name="connsiteX0" fmla="*/ 1349788 w 1349978"/>
                <a:gd name="connsiteY0" fmla="*/ 1349978 h 1349978"/>
                <a:gd name="connsiteX1" fmla="*/ 675037 w 1349978"/>
                <a:gd name="connsiteY1" fmla="*/ 1205389 h 1349978"/>
                <a:gd name="connsiteX2" fmla="*/ 0 w 1349978"/>
                <a:gd name="connsiteY2" fmla="*/ 1349978 h 1349978"/>
                <a:gd name="connsiteX3" fmla="*/ 0 w 1349978"/>
                <a:gd name="connsiteY3" fmla="*/ 0 h 1349978"/>
                <a:gd name="connsiteX4" fmla="*/ 1349978 w 1349978"/>
                <a:gd name="connsiteY4" fmla="*/ 0 h 1349978"/>
                <a:gd name="connsiteX5" fmla="*/ 1349788 w 1349978"/>
                <a:gd name="connsiteY5" fmla="*/ 1349978 h 1349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49978" h="1349978">
                  <a:moveTo>
                    <a:pt x="1349788" y="1349978"/>
                  </a:moveTo>
                  <a:cubicBezTo>
                    <a:pt x="1143953" y="1257110"/>
                    <a:pt x="915543" y="1205389"/>
                    <a:pt x="675037" y="1205389"/>
                  </a:cubicBezTo>
                  <a:cubicBezTo>
                    <a:pt x="434530" y="1205389"/>
                    <a:pt x="205835" y="1257110"/>
                    <a:pt x="0" y="1349978"/>
                  </a:cubicBezTo>
                  <a:lnTo>
                    <a:pt x="0" y="0"/>
                  </a:lnTo>
                  <a:lnTo>
                    <a:pt x="1349978" y="0"/>
                  </a:lnTo>
                  <a:lnTo>
                    <a:pt x="1349788" y="1349978"/>
                  </a:lnTo>
                  <a:close/>
                </a:path>
              </a:pathLst>
            </a:custGeom>
            <a:solidFill>
              <a:srgbClr val="0F2D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6" name="Grafik 31">
              <a:extLst>
                <a:ext uri="{FF2B5EF4-FFF2-40B4-BE49-F238E27FC236}">
                  <a16:creationId xmlns:a16="http://schemas.microsoft.com/office/drawing/2014/main" id="{D2246CB0-D29F-5F50-4A16-DD6D66E72883}"/>
                </a:ext>
              </a:extLst>
            </p:cNvPr>
            <p:cNvGrpSpPr/>
            <p:nvPr/>
          </p:nvGrpSpPr>
          <p:grpSpPr>
            <a:xfrm>
              <a:off x="5474985" y="3134295"/>
              <a:ext cx="1244293" cy="294132"/>
              <a:chOff x="5474985" y="3134295"/>
              <a:chExt cx="1244293" cy="294132"/>
            </a:xfrm>
            <a:solidFill>
              <a:srgbClr val="FFFFFF"/>
            </a:solidFill>
          </p:grpSpPr>
          <p:sp>
            <p:nvSpPr>
              <p:cNvPr id="7" name="Freihandform: Form 6">
                <a:extLst>
                  <a:ext uri="{FF2B5EF4-FFF2-40B4-BE49-F238E27FC236}">
                    <a16:creationId xmlns:a16="http://schemas.microsoft.com/office/drawing/2014/main" id="{7735F01D-6DDD-4100-2F15-AB85A9F5A22B}"/>
                  </a:ext>
                </a:extLst>
              </p:cNvPr>
              <p:cNvSpPr/>
              <p:nvPr/>
            </p:nvSpPr>
            <p:spPr>
              <a:xfrm>
                <a:off x="5474985" y="3134295"/>
                <a:ext cx="247353" cy="293941"/>
              </a:xfrm>
              <a:custGeom>
                <a:avLst/>
                <a:gdLst>
                  <a:gd name="connsiteX0" fmla="*/ 109998 w 247353"/>
                  <a:gd name="connsiteY0" fmla="*/ 30956 h 293941"/>
                  <a:gd name="connsiteX1" fmla="*/ 41418 w 247353"/>
                  <a:gd name="connsiteY1" fmla="*/ 95250 h 293941"/>
                  <a:gd name="connsiteX2" fmla="*/ 11129 w 247353"/>
                  <a:gd name="connsiteY2" fmla="*/ 95250 h 293941"/>
                  <a:gd name="connsiteX3" fmla="*/ 11129 w 247353"/>
                  <a:gd name="connsiteY3" fmla="*/ 0 h 293941"/>
                  <a:gd name="connsiteX4" fmla="*/ 247349 w 247353"/>
                  <a:gd name="connsiteY4" fmla="*/ 0 h 293941"/>
                  <a:gd name="connsiteX5" fmla="*/ 179340 w 247353"/>
                  <a:gd name="connsiteY5" fmla="*/ 151733 h 293941"/>
                  <a:gd name="connsiteX6" fmla="*/ 111141 w 247353"/>
                  <a:gd name="connsiteY6" fmla="*/ 262795 h 293941"/>
                  <a:gd name="connsiteX7" fmla="*/ 149432 w 247353"/>
                  <a:gd name="connsiteY7" fmla="*/ 262795 h 293941"/>
                  <a:gd name="connsiteX8" fmla="*/ 210011 w 247353"/>
                  <a:gd name="connsiteY8" fmla="*/ 198501 h 293941"/>
                  <a:gd name="connsiteX9" fmla="*/ 241634 w 247353"/>
                  <a:gd name="connsiteY9" fmla="*/ 198501 h 293941"/>
                  <a:gd name="connsiteX10" fmla="*/ 241634 w 247353"/>
                  <a:gd name="connsiteY10" fmla="*/ 293942 h 293941"/>
                  <a:gd name="connsiteX11" fmla="*/ 270 w 247353"/>
                  <a:gd name="connsiteY11" fmla="*/ 293942 h 293941"/>
                  <a:gd name="connsiteX12" fmla="*/ 75137 w 247353"/>
                  <a:gd name="connsiteY12" fmla="*/ 133731 h 293941"/>
                  <a:gd name="connsiteX13" fmla="*/ 138573 w 247353"/>
                  <a:gd name="connsiteY13" fmla="*/ 30671 h 293941"/>
                  <a:gd name="connsiteX14" fmla="*/ 109998 w 247353"/>
                  <a:gd name="connsiteY14" fmla="*/ 30861 h 2939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47353" h="293941">
                    <a:moveTo>
                      <a:pt x="109998" y="30956"/>
                    </a:moveTo>
                    <a:cubicBezTo>
                      <a:pt x="46562" y="30956"/>
                      <a:pt x="41418" y="95250"/>
                      <a:pt x="41418" y="95250"/>
                    </a:cubicBezTo>
                    <a:lnTo>
                      <a:pt x="11129" y="95250"/>
                    </a:lnTo>
                    <a:lnTo>
                      <a:pt x="11129" y="0"/>
                    </a:lnTo>
                    <a:lnTo>
                      <a:pt x="247349" y="0"/>
                    </a:lnTo>
                    <a:cubicBezTo>
                      <a:pt x="247349" y="0"/>
                      <a:pt x="249254" y="73628"/>
                      <a:pt x="179340" y="151733"/>
                    </a:cubicBezTo>
                    <a:cubicBezTo>
                      <a:pt x="179340" y="151733"/>
                      <a:pt x="112856" y="228981"/>
                      <a:pt x="111141" y="262795"/>
                    </a:cubicBezTo>
                    <a:lnTo>
                      <a:pt x="149432" y="262795"/>
                    </a:lnTo>
                    <a:cubicBezTo>
                      <a:pt x="204391" y="262795"/>
                      <a:pt x="210011" y="198501"/>
                      <a:pt x="210011" y="198501"/>
                    </a:cubicBezTo>
                    <a:lnTo>
                      <a:pt x="241634" y="198501"/>
                    </a:lnTo>
                    <a:lnTo>
                      <a:pt x="241634" y="293942"/>
                    </a:lnTo>
                    <a:lnTo>
                      <a:pt x="270" y="293942"/>
                    </a:lnTo>
                    <a:cubicBezTo>
                      <a:pt x="270" y="293942"/>
                      <a:pt x="-8588" y="221647"/>
                      <a:pt x="75137" y="133731"/>
                    </a:cubicBezTo>
                    <a:cubicBezTo>
                      <a:pt x="75137" y="133731"/>
                      <a:pt x="126667" y="76200"/>
                      <a:pt x="138573" y="30671"/>
                    </a:cubicBezTo>
                    <a:lnTo>
                      <a:pt x="109998" y="30861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" name="Freihandform: Form 7">
                <a:extLst>
                  <a:ext uri="{FF2B5EF4-FFF2-40B4-BE49-F238E27FC236}">
                    <a16:creationId xmlns:a16="http://schemas.microsoft.com/office/drawing/2014/main" id="{D2078110-6C10-772D-DC68-FAB6EB0E430A}"/>
                  </a:ext>
                </a:extLst>
              </p:cNvPr>
              <p:cNvSpPr/>
              <p:nvPr/>
            </p:nvSpPr>
            <p:spPr>
              <a:xfrm>
                <a:off x="6030181" y="3134295"/>
                <a:ext cx="156495" cy="293750"/>
              </a:xfrm>
              <a:custGeom>
                <a:avLst/>
                <a:gdLst>
                  <a:gd name="connsiteX0" fmla="*/ 156496 w 156495"/>
                  <a:gd name="connsiteY0" fmla="*/ 293751 h 293750"/>
                  <a:gd name="connsiteX1" fmla="*/ 156496 w 156495"/>
                  <a:gd name="connsiteY1" fmla="*/ 262604 h 293750"/>
                  <a:gd name="connsiteX2" fmla="*/ 149352 w 156495"/>
                  <a:gd name="connsiteY2" fmla="*/ 262604 h 293750"/>
                  <a:gd name="connsiteX3" fmla="*/ 125730 w 156495"/>
                  <a:gd name="connsiteY3" fmla="*/ 238982 h 293750"/>
                  <a:gd name="connsiteX4" fmla="*/ 125730 w 156495"/>
                  <a:gd name="connsiteY4" fmla="*/ 54769 h 293750"/>
                  <a:gd name="connsiteX5" fmla="*/ 149352 w 156495"/>
                  <a:gd name="connsiteY5" fmla="*/ 31147 h 293750"/>
                  <a:gd name="connsiteX6" fmla="*/ 156496 w 156495"/>
                  <a:gd name="connsiteY6" fmla="*/ 31147 h 293750"/>
                  <a:gd name="connsiteX7" fmla="*/ 156496 w 156495"/>
                  <a:gd name="connsiteY7" fmla="*/ 0 h 293750"/>
                  <a:gd name="connsiteX8" fmla="*/ 0 w 156495"/>
                  <a:gd name="connsiteY8" fmla="*/ 0 h 293750"/>
                  <a:gd name="connsiteX9" fmla="*/ 0 w 156495"/>
                  <a:gd name="connsiteY9" fmla="*/ 31147 h 293750"/>
                  <a:gd name="connsiteX10" fmla="*/ 7144 w 156495"/>
                  <a:gd name="connsiteY10" fmla="*/ 31147 h 293750"/>
                  <a:gd name="connsiteX11" fmla="*/ 30956 w 156495"/>
                  <a:gd name="connsiteY11" fmla="*/ 54769 h 293750"/>
                  <a:gd name="connsiteX12" fmla="*/ 30956 w 156495"/>
                  <a:gd name="connsiteY12" fmla="*/ 238982 h 293750"/>
                  <a:gd name="connsiteX13" fmla="*/ 7144 w 156495"/>
                  <a:gd name="connsiteY13" fmla="*/ 262604 h 293750"/>
                  <a:gd name="connsiteX14" fmla="*/ 0 w 156495"/>
                  <a:gd name="connsiteY14" fmla="*/ 262604 h 293750"/>
                  <a:gd name="connsiteX15" fmla="*/ 0 w 156495"/>
                  <a:gd name="connsiteY15" fmla="*/ 293751 h 293750"/>
                  <a:gd name="connsiteX16" fmla="*/ 156496 w 156495"/>
                  <a:gd name="connsiteY16" fmla="*/ 293751 h 293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56495" h="293750">
                    <a:moveTo>
                      <a:pt x="156496" y="293751"/>
                    </a:moveTo>
                    <a:lnTo>
                      <a:pt x="156496" y="262604"/>
                    </a:lnTo>
                    <a:lnTo>
                      <a:pt x="149352" y="262604"/>
                    </a:lnTo>
                    <a:cubicBezTo>
                      <a:pt x="136398" y="262604"/>
                      <a:pt x="125730" y="251936"/>
                      <a:pt x="125730" y="238982"/>
                    </a:cubicBezTo>
                    <a:lnTo>
                      <a:pt x="125730" y="54769"/>
                    </a:lnTo>
                    <a:cubicBezTo>
                      <a:pt x="125730" y="41815"/>
                      <a:pt x="136303" y="31147"/>
                      <a:pt x="149352" y="31147"/>
                    </a:cubicBezTo>
                    <a:lnTo>
                      <a:pt x="156496" y="31147"/>
                    </a:lnTo>
                    <a:lnTo>
                      <a:pt x="156496" y="0"/>
                    </a:lnTo>
                    <a:lnTo>
                      <a:pt x="0" y="0"/>
                    </a:lnTo>
                    <a:lnTo>
                      <a:pt x="0" y="31147"/>
                    </a:lnTo>
                    <a:lnTo>
                      <a:pt x="7144" y="31147"/>
                    </a:lnTo>
                    <a:cubicBezTo>
                      <a:pt x="20383" y="31147"/>
                      <a:pt x="30956" y="41720"/>
                      <a:pt x="30956" y="54769"/>
                    </a:cubicBezTo>
                    <a:lnTo>
                      <a:pt x="30956" y="238982"/>
                    </a:lnTo>
                    <a:cubicBezTo>
                      <a:pt x="30956" y="251936"/>
                      <a:pt x="20383" y="262604"/>
                      <a:pt x="7144" y="262604"/>
                    </a:cubicBezTo>
                    <a:lnTo>
                      <a:pt x="0" y="262604"/>
                    </a:lnTo>
                    <a:lnTo>
                      <a:pt x="0" y="293751"/>
                    </a:lnTo>
                    <a:lnTo>
                      <a:pt x="156496" y="293751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" name="Freihandform: Form 8">
                <a:extLst>
                  <a:ext uri="{FF2B5EF4-FFF2-40B4-BE49-F238E27FC236}">
                    <a16:creationId xmlns:a16="http://schemas.microsoft.com/office/drawing/2014/main" id="{AE6A348F-B5FA-6694-E087-E307A7CEDA1F}"/>
                  </a:ext>
                </a:extLst>
              </p:cNvPr>
              <p:cNvSpPr/>
              <p:nvPr/>
            </p:nvSpPr>
            <p:spPr>
              <a:xfrm>
                <a:off x="5748718" y="3134295"/>
                <a:ext cx="248983" cy="294132"/>
              </a:xfrm>
              <a:custGeom>
                <a:avLst/>
                <a:gdLst>
                  <a:gd name="connsiteX0" fmla="*/ 248983 w 248983"/>
                  <a:gd name="connsiteY0" fmla="*/ 294037 h 294132"/>
                  <a:gd name="connsiteX1" fmla="*/ 248983 w 248983"/>
                  <a:gd name="connsiteY1" fmla="*/ 198596 h 294132"/>
                  <a:gd name="connsiteX2" fmla="*/ 217361 w 248983"/>
                  <a:gd name="connsiteY2" fmla="*/ 198596 h 294132"/>
                  <a:gd name="connsiteX3" fmla="*/ 156496 w 248983"/>
                  <a:gd name="connsiteY3" fmla="*/ 262890 h 294132"/>
                  <a:gd name="connsiteX4" fmla="*/ 124873 w 248983"/>
                  <a:gd name="connsiteY4" fmla="*/ 262890 h 294132"/>
                  <a:gd name="connsiteX5" fmla="*/ 124873 w 248983"/>
                  <a:gd name="connsiteY5" fmla="*/ 162687 h 294132"/>
                  <a:gd name="connsiteX6" fmla="*/ 136112 w 248983"/>
                  <a:gd name="connsiteY6" fmla="*/ 162687 h 294132"/>
                  <a:gd name="connsiteX7" fmla="*/ 159925 w 248983"/>
                  <a:gd name="connsiteY7" fmla="*/ 186500 h 294132"/>
                  <a:gd name="connsiteX8" fmla="*/ 159925 w 248983"/>
                  <a:gd name="connsiteY8" fmla="*/ 198406 h 294132"/>
                  <a:gd name="connsiteX9" fmla="*/ 191071 w 248983"/>
                  <a:gd name="connsiteY9" fmla="*/ 198406 h 294132"/>
                  <a:gd name="connsiteX10" fmla="*/ 191071 w 248983"/>
                  <a:gd name="connsiteY10" fmla="*/ 95631 h 294132"/>
                  <a:gd name="connsiteX11" fmla="*/ 159925 w 248983"/>
                  <a:gd name="connsiteY11" fmla="*/ 95631 h 294132"/>
                  <a:gd name="connsiteX12" fmla="*/ 159925 w 248983"/>
                  <a:gd name="connsiteY12" fmla="*/ 107537 h 294132"/>
                  <a:gd name="connsiteX13" fmla="*/ 136112 w 248983"/>
                  <a:gd name="connsiteY13" fmla="*/ 131350 h 294132"/>
                  <a:gd name="connsiteX14" fmla="*/ 124873 w 248983"/>
                  <a:gd name="connsiteY14" fmla="*/ 131350 h 294132"/>
                  <a:gd name="connsiteX15" fmla="*/ 124873 w 248983"/>
                  <a:gd name="connsiteY15" fmla="*/ 31147 h 294132"/>
                  <a:gd name="connsiteX16" fmla="*/ 156496 w 248983"/>
                  <a:gd name="connsiteY16" fmla="*/ 31147 h 294132"/>
                  <a:gd name="connsiteX17" fmla="*/ 217361 w 248983"/>
                  <a:gd name="connsiteY17" fmla="*/ 95441 h 294132"/>
                  <a:gd name="connsiteX18" fmla="*/ 248983 w 248983"/>
                  <a:gd name="connsiteY18" fmla="*/ 95441 h 294132"/>
                  <a:gd name="connsiteX19" fmla="*/ 248983 w 248983"/>
                  <a:gd name="connsiteY19" fmla="*/ 0 h 294132"/>
                  <a:gd name="connsiteX20" fmla="*/ 0 w 248983"/>
                  <a:gd name="connsiteY20" fmla="*/ 0 h 294132"/>
                  <a:gd name="connsiteX21" fmla="*/ 0 w 248983"/>
                  <a:gd name="connsiteY21" fmla="*/ 31337 h 294132"/>
                  <a:gd name="connsiteX22" fmla="*/ 7144 w 248983"/>
                  <a:gd name="connsiteY22" fmla="*/ 31337 h 294132"/>
                  <a:gd name="connsiteX23" fmla="*/ 30766 w 248983"/>
                  <a:gd name="connsiteY23" fmla="*/ 54959 h 294132"/>
                  <a:gd name="connsiteX24" fmla="*/ 30766 w 248983"/>
                  <a:gd name="connsiteY24" fmla="*/ 239173 h 294132"/>
                  <a:gd name="connsiteX25" fmla="*/ 7144 w 248983"/>
                  <a:gd name="connsiteY25" fmla="*/ 262795 h 294132"/>
                  <a:gd name="connsiteX26" fmla="*/ 0 w 248983"/>
                  <a:gd name="connsiteY26" fmla="*/ 262795 h 294132"/>
                  <a:gd name="connsiteX27" fmla="*/ 0 w 248983"/>
                  <a:gd name="connsiteY27" fmla="*/ 293942 h 294132"/>
                  <a:gd name="connsiteX28" fmla="*/ 248983 w 248983"/>
                  <a:gd name="connsiteY28" fmla="*/ 294132 h 294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248983" h="294132">
                    <a:moveTo>
                      <a:pt x="248983" y="294037"/>
                    </a:moveTo>
                    <a:lnTo>
                      <a:pt x="248983" y="198596"/>
                    </a:lnTo>
                    <a:lnTo>
                      <a:pt x="217361" y="198596"/>
                    </a:lnTo>
                    <a:cubicBezTo>
                      <a:pt x="217361" y="198596"/>
                      <a:pt x="211550" y="262890"/>
                      <a:pt x="156496" y="262890"/>
                    </a:cubicBezTo>
                    <a:lnTo>
                      <a:pt x="124873" y="262890"/>
                    </a:lnTo>
                    <a:lnTo>
                      <a:pt x="124873" y="162687"/>
                    </a:lnTo>
                    <a:lnTo>
                      <a:pt x="136112" y="162687"/>
                    </a:lnTo>
                    <a:cubicBezTo>
                      <a:pt x="149352" y="162687"/>
                      <a:pt x="159925" y="173355"/>
                      <a:pt x="159925" y="186500"/>
                    </a:cubicBezTo>
                    <a:lnTo>
                      <a:pt x="159925" y="198406"/>
                    </a:lnTo>
                    <a:lnTo>
                      <a:pt x="191071" y="198406"/>
                    </a:lnTo>
                    <a:lnTo>
                      <a:pt x="191071" y="95631"/>
                    </a:lnTo>
                    <a:lnTo>
                      <a:pt x="159925" y="95631"/>
                    </a:lnTo>
                    <a:lnTo>
                      <a:pt x="159925" y="107537"/>
                    </a:lnTo>
                    <a:cubicBezTo>
                      <a:pt x="159925" y="120777"/>
                      <a:pt x="149352" y="131350"/>
                      <a:pt x="136112" y="131350"/>
                    </a:cubicBezTo>
                    <a:lnTo>
                      <a:pt x="124873" y="131350"/>
                    </a:lnTo>
                    <a:lnTo>
                      <a:pt x="124873" y="31147"/>
                    </a:lnTo>
                    <a:lnTo>
                      <a:pt x="156496" y="31147"/>
                    </a:lnTo>
                    <a:cubicBezTo>
                      <a:pt x="211455" y="31147"/>
                      <a:pt x="217361" y="95441"/>
                      <a:pt x="217361" y="95441"/>
                    </a:cubicBezTo>
                    <a:lnTo>
                      <a:pt x="248983" y="95441"/>
                    </a:lnTo>
                    <a:lnTo>
                      <a:pt x="248983" y="0"/>
                    </a:lnTo>
                    <a:lnTo>
                      <a:pt x="0" y="0"/>
                    </a:lnTo>
                    <a:lnTo>
                      <a:pt x="0" y="31337"/>
                    </a:lnTo>
                    <a:lnTo>
                      <a:pt x="7144" y="31337"/>
                    </a:lnTo>
                    <a:cubicBezTo>
                      <a:pt x="20098" y="31337"/>
                      <a:pt x="30766" y="42005"/>
                      <a:pt x="30766" y="54959"/>
                    </a:cubicBezTo>
                    <a:lnTo>
                      <a:pt x="30766" y="239173"/>
                    </a:lnTo>
                    <a:cubicBezTo>
                      <a:pt x="30766" y="252127"/>
                      <a:pt x="20193" y="262795"/>
                      <a:pt x="7144" y="262795"/>
                    </a:cubicBezTo>
                    <a:lnTo>
                      <a:pt x="0" y="262795"/>
                    </a:lnTo>
                    <a:lnTo>
                      <a:pt x="0" y="293942"/>
                    </a:lnTo>
                    <a:lnTo>
                      <a:pt x="248983" y="294132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" name="Freihandform: Form 9">
                <a:extLst>
                  <a:ext uri="{FF2B5EF4-FFF2-40B4-BE49-F238E27FC236}">
                    <a16:creationId xmlns:a16="http://schemas.microsoft.com/office/drawing/2014/main" id="{8ADDAC60-8C95-412D-5823-90D71DE4349D}"/>
                  </a:ext>
                </a:extLst>
              </p:cNvPr>
              <p:cNvSpPr/>
              <p:nvPr/>
            </p:nvSpPr>
            <p:spPr>
              <a:xfrm>
                <a:off x="6217588" y="3134295"/>
                <a:ext cx="237562" cy="293941"/>
              </a:xfrm>
              <a:custGeom>
                <a:avLst/>
                <a:gdLst>
                  <a:gd name="connsiteX0" fmla="*/ 133586 w 237562"/>
                  <a:gd name="connsiteY0" fmla="*/ 30956 h 293941"/>
                  <a:gd name="connsiteX1" fmla="*/ 201976 w 237562"/>
                  <a:gd name="connsiteY1" fmla="*/ 95250 h 293941"/>
                  <a:gd name="connsiteX2" fmla="*/ 232551 w 237562"/>
                  <a:gd name="connsiteY2" fmla="*/ 95250 h 293941"/>
                  <a:gd name="connsiteX3" fmla="*/ 232551 w 237562"/>
                  <a:gd name="connsiteY3" fmla="*/ 0 h 293941"/>
                  <a:gd name="connsiteX4" fmla="*/ 6713 w 237562"/>
                  <a:gd name="connsiteY4" fmla="*/ 0 h 293941"/>
                  <a:gd name="connsiteX5" fmla="*/ 64339 w 237562"/>
                  <a:gd name="connsiteY5" fmla="*/ 151733 h 293941"/>
                  <a:gd name="connsiteX6" fmla="*/ 132348 w 237562"/>
                  <a:gd name="connsiteY6" fmla="*/ 262795 h 293941"/>
                  <a:gd name="connsiteX7" fmla="*/ 94248 w 237562"/>
                  <a:gd name="connsiteY7" fmla="*/ 262795 h 293941"/>
                  <a:gd name="connsiteX8" fmla="*/ 33383 w 237562"/>
                  <a:gd name="connsiteY8" fmla="*/ 198501 h 293941"/>
                  <a:gd name="connsiteX9" fmla="*/ 1760 w 237562"/>
                  <a:gd name="connsiteY9" fmla="*/ 198501 h 293941"/>
                  <a:gd name="connsiteX10" fmla="*/ 1760 w 237562"/>
                  <a:gd name="connsiteY10" fmla="*/ 293942 h 293941"/>
                  <a:gd name="connsiteX11" fmla="*/ 229312 w 237562"/>
                  <a:gd name="connsiteY11" fmla="*/ 293942 h 293941"/>
                  <a:gd name="connsiteX12" fmla="*/ 168257 w 237562"/>
                  <a:gd name="connsiteY12" fmla="*/ 133731 h 293941"/>
                  <a:gd name="connsiteX13" fmla="*/ 104821 w 237562"/>
                  <a:gd name="connsiteY13" fmla="*/ 30671 h 293941"/>
                  <a:gd name="connsiteX14" fmla="*/ 133586 w 237562"/>
                  <a:gd name="connsiteY14" fmla="*/ 30861 h 2939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37562" h="293941">
                    <a:moveTo>
                      <a:pt x="133586" y="30956"/>
                    </a:moveTo>
                    <a:cubicBezTo>
                      <a:pt x="197023" y="30956"/>
                      <a:pt x="201976" y="95250"/>
                      <a:pt x="201976" y="95250"/>
                    </a:cubicBezTo>
                    <a:lnTo>
                      <a:pt x="232551" y="95250"/>
                    </a:lnTo>
                    <a:lnTo>
                      <a:pt x="232551" y="0"/>
                    </a:lnTo>
                    <a:lnTo>
                      <a:pt x="6713" y="0"/>
                    </a:lnTo>
                    <a:cubicBezTo>
                      <a:pt x="6713" y="0"/>
                      <a:pt x="-29006" y="46768"/>
                      <a:pt x="64339" y="151733"/>
                    </a:cubicBezTo>
                    <a:cubicBezTo>
                      <a:pt x="64339" y="151733"/>
                      <a:pt x="130538" y="228981"/>
                      <a:pt x="132348" y="262795"/>
                    </a:cubicBezTo>
                    <a:lnTo>
                      <a:pt x="94248" y="262795"/>
                    </a:lnTo>
                    <a:cubicBezTo>
                      <a:pt x="39289" y="262795"/>
                      <a:pt x="33383" y="198501"/>
                      <a:pt x="33383" y="198501"/>
                    </a:cubicBezTo>
                    <a:lnTo>
                      <a:pt x="1760" y="198501"/>
                    </a:lnTo>
                    <a:lnTo>
                      <a:pt x="1760" y="293942"/>
                    </a:lnTo>
                    <a:lnTo>
                      <a:pt x="229312" y="293942"/>
                    </a:lnTo>
                    <a:cubicBezTo>
                      <a:pt x="229312" y="293942"/>
                      <a:pt x="270651" y="249365"/>
                      <a:pt x="168257" y="133731"/>
                    </a:cubicBezTo>
                    <a:cubicBezTo>
                      <a:pt x="168257" y="133731"/>
                      <a:pt x="114536" y="78581"/>
                      <a:pt x="104821" y="30671"/>
                    </a:cubicBezTo>
                    <a:lnTo>
                      <a:pt x="133586" y="30861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" name="Freihandform: Form 10">
                <a:extLst>
                  <a:ext uri="{FF2B5EF4-FFF2-40B4-BE49-F238E27FC236}">
                    <a16:creationId xmlns:a16="http://schemas.microsoft.com/office/drawing/2014/main" id="{E75C5A88-88AB-A81A-9B31-52112E9E5582}"/>
                  </a:ext>
                </a:extLst>
              </p:cNvPr>
              <p:cNvSpPr/>
              <p:nvPr/>
            </p:nvSpPr>
            <p:spPr>
              <a:xfrm>
                <a:off x="6481716" y="3134295"/>
                <a:ext cx="237562" cy="293941"/>
              </a:xfrm>
              <a:custGeom>
                <a:avLst/>
                <a:gdLst>
                  <a:gd name="connsiteX0" fmla="*/ 133586 w 237562"/>
                  <a:gd name="connsiteY0" fmla="*/ 30956 h 293941"/>
                  <a:gd name="connsiteX1" fmla="*/ 201976 w 237562"/>
                  <a:gd name="connsiteY1" fmla="*/ 95250 h 293941"/>
                  <a:gd name="connsiteX2" fmla="*/ 232265 w 237562"/>
                  <a:gd name="connsiteY2" fmla="*/ 95250 h 293941"/>
                  <a:gd name="connsiteX3" fmla="*/ 232265 w 237562"/>
                  <a:gd name="connsiteY3" fmla="*/ 0 h 293941"/>
                  <a:gd name="connsiteX4" fmla="*/ 6713 w 237562"/>
                  <a:gd name="connsiteY4" fmla="*/ 0 h 293941"/>
                  <a:gd name="connsiteX5" fmla="*/ 64339 w 237562"/>
                  <a:gd name="connsiteY5" fmla="*/ 151733 h 293941"/>
                  <a:gd name="connsiteX6" fmla="*/ 132348 w 237562"/>
                  <a:gd name="connsiteY6" fmla="*/ 262795 h 293941"/>
                  <a:gd name="connsiteX7" fmla="*/ 94248 w 237562"/>
                  <a:gd name="connsiteY7" fmla="*/ 262795 h 293941"/>
                  <a:gd name="connsiteX8" fmla="*/ 33383 w 237562"/>
                  <a:gd name="connsiteY8" fmla="*/ 198501 h 293941"/>
                  <a:gd name="connsiteX9" fmla="*/ 1760 w 237562"/>
                  <a:gd name="connsiteY9" fmla="*/ 198501 h 293941"/>
                  <a:gd name="connsiteX10" fmla="*/ 1760 w 237562"/>
                  <a:gd name="connsiteY10" fmla="*/ 293942 h 293941"/>
                  <a:gd name="connsiteX11" fmla="*/ 229313 w 237562"/>
                  <a:gd name="connsiteY11" fmla="*/ 293942 h 293941"/>
                  <a:gd name="connsiteX12" fmla="*/ 168257 w 237562"/>
                  <a:gd name="connsiteY12" fmla="*/ 133731 h 293941"/>
                  <a:gd name="connsiteX13" fmla="*/ 104821 w 237562"/>
                  <a:gd name="connsiteY13" fmla="*/ 30671 h 293941"/>
                  <a:gd name="connsiteX14" fmla="*/ 133586 w 237562"/>
                  <a:gd name="connsiteY14" fmla="*/ 30861 h 2939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37562" h="293941">
                    <a:moveTo>
                      <a:pt x="133586" y="30956"/>
                    </a:moveTo>
                    <a:cubicBezTo>
                      <a:pt x="196832" y="30956"/>
                      <a:pt x="201976" y="95250"/>
                      <a:pt x="201976" y="95250"/>
                    </a:cubicBezTo>
                    <a:lnTo>
                      <a:pt x="232265" y="95250"/>
                    </a:lnTo>
                    <a:lnTo>
                      <a:pt x="232265" y="0"/>
                    </a:lnTo>
                    <a:lnTo>
                      <a:pt x="6713" y="0"/>
                    </a:lnTo>
                    <a:cubicBezTo>
                      <a:pt x="6713" y="0"/>
                      <a:pt x="-29006" y="46768"/>
                      <a:pt x="64339" y="151733"/>
                    </a:cubicBezTo>
                    <a:cubicBezTo>
                      <a:pt x="64339" y="151733"/>
                      <a:pt x="130538" y="228981"/>
                      <a:pt x="132348" y="262795"/>
                    </a:cubicBezTo>
                    <a:lnTo>
                      <a:pt x="94248" y="262795"/>
                    </a:lnTo>
                    <a:cubicBezTo>
                      <a:pt x="39289" y="262795"/>
                      <a:pt x="33383" y="198501"/>
                      <a:pt x="33383" y="198501"/>
                    </a:cubicBezTo>
                    <a:lnTo>
                      <a:pt x="1760" y="198501"/>
                    </a:lnTo>
                    <a:lnTo>
                      <a:pt x="1760" y="293942"/>
                    </a:lnTo>
                    <a:lnTo>
                      <a:pt x="229313" y="293942"/>
                    </a:lnTo>
                    <a:cubicBezTo>
                      <a:pt x="229313" y="293942"/>
                      <a:pt x="270651" y="249365"/>
                      <a:pt x="168257" y="133731"/>
                    </a:cubicBezTo>
                    <a:cubicBezTo>
                      <a:pt x="168257" y="133731"/>
                      <a:pt x="114536" y="78581"/>
                      <a:pt x="104821" y="30671"/>
                    </a:cubicBezTo>
                    <a:lnTo>
                      <a:pt x="133586" y="30861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cxnSp>
        <p:nvCxnSpPr>
          <p:cNvPr id="3" name="Gerade Verbindung 22">
            <a:extLst>
              <a:ext uri="{FF2B5EF4-FFF2-40B4-BE49-F238E27FC236}">
                <a16:creationId xmlns:a16="http://schemas.microsoft.com/office/drawing/2014/main" id="{06C8D6A9-9235-794C-F0DE-A44633B64CED}"/>
              </a:ext>
            </a:extLst>
          </p:cNvPr>
          <p:cNvCxnSpPr>
            <a:cxnSpLocks/>
          </p:cNvCxnSpPr>
          <p:nvPr userDrawn="1"/>
        </p:nvCxnSpPr>
        <p:spPr>
          <a:xfrm>
            <a:off x="518319" y="6093705"/>
            <a:ext cx="4319998" cy="0"/>
          </a:xfrm>
          <a:prstGeom prst="line">
            <a:avLst/>
          </a:prstGeom>
          <a:ln w="6350">
            <a:solidFill>
              <a:srgbClr val="DCE3E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41347B29-6CFE-0B0E-359D-3C35CB883D5F}"/>
              </a:ext>
            </a:extLst>
          </p:cNvPr>
          <p:cNvGrpSpPr/>
          <p:nvPr userDrawn="1"/>
        </p:nvGrpSpPr>
        <p:grpSpPr>
          <a:xfrm>
            <a:off x="304116" y="-697714"/>
            <a:ext cx="11370764" cy="411957"/>
            <a:chOff x="304116" y="6944502"/>
            <a:chExt cx="11370764" cy="411957"/>
          </a:xfrm>
        </p:grpSpPr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183B17F7-847B-1A3B-BCA6-4368807CCE89}"/>
                </a:ext>
              </a:extLst>
            </p:cNvPr>
            <p:cNvGrpSpPr/>
            <p:nvPr/>
          </p:nvGrpSpPr>
          <p:grpSpPr>
            <a:xfrm rot="16200000">
              <a:off x="204049" y="7044570"/>
              <a:ext cx="411956" cy="211821"/>
              <a:chOff x="-615197" y="4299854"/>
              <a:chExt cx="411956" cy="211821"/>
            </a:xfrm>
          </p:grpSpPr>
          <p:cxnSp>
            <p:nvCxnSpPr>
              <p:cNvPr id="24" name="Gerader Verbinder 23">
                <a:extLst>
                  <a:ext uri="{FF2B5EF4-FFF2-40B4-BE49-F238E27FC236}">
                    <a16:creationId xmlns:a16="http://schemas.microsoft.com/office/drawing/2014/main" id="{7AF5AA64-5BCA-1FAB-E3E2-1111DD9EE8D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5" name="Textfeld 24">
                <a:extLst>
                  <a:ext uri="{FF2B5EF4-FFF2-40B4-BE49-F238E27FC236}">
                    <a16:creationId xmlns:a16="http://schemas.microsoft.com/office/drawing/2014/main" id="{E789BF12-4A54-5C82-13A5-76BD8C2715F9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15.50</a:t>
                </a:r>
              </a:p>
            </p:txBody>
          </p:sp>
        </p:grp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EEF6DAEE-EB90-513C-8026-1DB51558ABF6}"/>
                </a:ext>
              </a:extLst>
            </p:cNvPr>
            <p:cNvGrpSpPr/>
            <p:nvPr/>
          </p:nvGrpSpPr>
          <p:grpSpPr>
            <a:xfrm rot="16200000">
              <a:off x="5639649" y="7044570"/>
              <a:ext cx="411956" cy="211821"/>
              <a:chOff x="-615197" y="4299854"/>
              <a:chExt cx="411956" cy="211821"/>
            </a:xfrm>
          </p:grpSpPr>
          <p:cxnSp>
            <p:nvCxnSpPr>
              <p:cNvPr id="22" name="Gerader Verbinder 21">
                <a:extLst>
                  <a:ext uri="{FF2B5EF4-FFF2-40B4-BE49-F238E27FC236}">
                    <a16:creationId xmlns:a16="http://schemas.microsoft.com/office/drawing/2014/main" id="{F4178E86-BD9E-1DAF-DBC2-14F333F4561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" name="Textfeld 22">
                <a:extLst>
                  <a:ext uri="{FF2B5EF4-FFF2-40B4-BE49-F238E27FC236}">
                    <a16:creationId xmlns:a16="http://schemas.microsoft.com/office/drawing/2014/main" id="{36FAF8A1-0416-3845-9838-9D038DB1ADA0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0.40</a:t>
                </a:r>
              </a:p>
            </p:txBody>
          </p:sp>
        </p:grp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F00B61DE-0BEC-C9FD-34AE-399DC2EBF70B}"/>
                </a:ext>
              </a:extLst>
            </p:cNvPr>
            <p:cNvGrpSpPr/>
            <p:nvPr/>
          </p:nvGrpSpPr>
          <p:grpSpPr>
            <a:xfrm rot="5400000">
              <a:off x="6093326" y="7046990"/>
              <a:ext cx="411956" cy="206980"/>
              <a:chOff x="-615197" y="4350961"/>
              <a:chExt cx="411956" cy="206980"/>
            </a:xfrm>
          </p:grpSpPr>
          <p:cxnSp>
            <p:nvCxnSpPr>
              <p:cNvPr id="20" name="Gerader Verbinder 19">
                <a:extLst>
                  <a:ext uri="{FF2B5EF4-FFF2-40B4-BE49-F238E27FC236}">
                    <a16:creationId xmlns:a16="http://schemas.microsoft.com/office/drawing/2014/main" id="{0CD572D5-FC97-7A32-451C-75AB978C18B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" name="Textfeld 20">
                <a:extLst>
                  <a:ext uri="{FF2B5EF4-FFF2-40B4-BE49-F238E27FC236}">
                    <a16:creationId xmlns:a16="http://schemas.microsoft.com/office/drawing/2014/main" id="{83B75730-CDF0-0712-3329-88FD22FFC4CB}"/>
                  </a:ext>
                </a:extLst>
              </p:cNvPr>
              <p:cNvSpPr txBox="1"/>
              <p:nvPr/>
            </p:nvSpPr>
            <p:spPr>
              <a:xfrm rot="10800000">
                <a:off x="-615197" y="4350961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0.40</a:t>
                </a:r>
              </a:p>
            </p:txBody>
          </p:sp>
        </p:grp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3B91A135-8623-E624-F554-21F90F590B47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5890022" y="7150480"/>
              <a:ext cx="411956" cy="0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2FEFE73B-9968-013D-32AC-82662E4626D9}"/>
                </a:ext>
              </a:extLst>
            </p:cNvPr>
            <p:cNvGrpSpPr/>
            <p:nvPr/>
          </p:nvGrpSpPr>
          <p:grpSpPr>
            <a:xfrm rot="16200000">
              <a:off x="11362992" y="7044570"/>
              <a:ext cx="411956" cy="211821"/>
              <a:chOff x="-615197" y="4299854"/>
              <a:chExt cx="411956" cy="211821"/>
            </a:xfrm>
          </p:grpSpPr>
          <p:cxnSp>
            <p:nvCxnSpPr>
              <p:cNvPr id="18" name="Gerader Verbinder 17">
                <a:extLst>
                  <a:ext uri="{FF2B5EF4-FFF2-40B4-BE49-F238E27FC236}">
                    <a16:creationId xmlns:a16="http://schemas.microsoft.com/office/drawing/2014/main" id="{1BB22638-E67F-4DDE-FBD6-64B3FCBD9AE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" name="Textfeld 18">
                <a:extLst>
                  <a:ext uri="{FF2B5EF4-FFF2-40B4-BE49-F238E27FC236}">
                    <a16:creationId xmlns:a16="http://schemas.microsoft.com/office/drawing/2014/main" id="{6C63976B-BE38-E939-7A47-140D923B9C0A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15.50</a:t>
                </a:r>
              </a:p>
            </p:txBody>
          </p:sp>
        </p:grpSp>
      </p:grp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46A21D3F-59F0-69C4-D27A-AA77C46B92B0}"/>
              </a:ext>
            </a:extLst>
          </p:cNvPr>
          <p:cNvGrpSpPr/>
          <p:nvPr userDrawn="1"/>
        </p:nvGrpSpPr>
        <p:grpSpPr>
          <a:xfrm>
            <a:off x="-697714" y="80201"/>
            <a:ext cx="411956" cy="6720119"/>
            <a:chOff x="-502267" y="80201"/>
            <a:chExt cx="411956" cy="6720119"/>
          </a:xfrm>
        </p:grpSpPr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91FE3805-88F1-4CD2-A6BD-90798B35EE4D}"/>
                </a:ext>
              </a:extLst>
            </p:cNvPr>
            <p:cNvGrpSpPr/>
            <p:nvPr/>
          </p:nvGrpSpPr>
          <p:grpSpPr>
            <a:xfrm>
              <a:off x="-502267" y="6593340"/>
              <a:ext cx="411956" cy="206980"/>
              <a:chOff x="-615197" y="4452994"/>
              <a:chExt cx="411956" cy="206980"/>
            </a:xfrm>
          </p:grpSpPr>
          <p:sp>
            <p:nvSpPr>
              <p:cNvPr id="44" name="Textfeld 43">
                <a:extLst>
                  <a:ext uri="{FF2B5EF4-FFF2-40B4-BE49-F238E27FC236}">
                    <a16:creationId xmlns:a16="http://schemas.microsoft.com/office/drawing/2014/main" id="{27F790CE-DBB1-5E02-6390-91EE9C1E67BB}"/>
                  </a:ext>
                </a:extLst>
              </p:cNvPr>
              <p:cNvSpPr txBox="1"/>
              <p:nvPr/>
            </p:nvSpPr>
            <p:spPr>
              <a:xfrm>
                <a:off x="-615197" y="445299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8.92</a:t>
                </a:r>
              </a:p>
            </p:txBody>
          </p:sp>
          <p:cxnSp>
            <p:nvCxnSpPr>
              <p:cNvPr id="46" name="Gerader Verbinder 45">
                <a:extLst>
                  <a:ext uri="{FF2B5EF4-FFF2-40B4-BE49-F238E27FC236}">
                    <a16:creationId xmlns:a16="http://schemas.microsoft.com/office/drawing/2014/main" id="{116A1F75-1FFC-7EEC-E8F0-99A9BD4E871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97389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EA4F5AE5-CB51-5B1B-2103-F7B0B15EFCE2}"/>
                </a:ext>
              </a:extLst>
            </p:cNvPr>
            <p:cNvGrpSpPr/>
            <p:nvPr/>
          </p:nvGrpSpPr>
          <p:grpSpPr>
            <a:xfrm>
              <a:off x="-502267" y="5876163"/>
              <a:ext cx="411956" cy="216662"/>
              <a:chOff x="-615197" y="4295013"/>
              <a:chExt cx="411956" cy="216662"/>
            </a:xfrm>
          </p:grpSpPr>
          <p:cxnSp>
            <p:nvCxnSpPr>
              <p:cNvPr id="42" name="Gerader Verbinder 41">
                <a:extLst>
                  <a:ext uri="{FF2B5EF4-FFF2-40B4-BE49-F238E27FC236}">
                    <a16:creationId xmlns:a16="http://schemas.microsoft.com/office/drawing/2014/main" id="{3D874358-8B79-2F9E-F336-DB672996970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3" name="Textfeld 42">
                <a:extLst>
                  <a:ext uri="{FF2B5EF4-FFF2-40B4-BE49-F238E27FC236}">
                    <a16:creationId xmlns:a16="http://schemas.microsoft.com/office/drawing/2014/main" id="{4F2364F2-8FD7-C15C-3D71-AD34F0AF2BA3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7.40</a:t>
                </a:r>
              </a:p>
            </p:txBody>
          </p:sp>
        </p:grpSp>
        <p:grpSp>
          <p:nvGrpSpPr>
            <p:cNvPr id="30" name="Gruppieren 29">
              <a:extLst>
                <a:ext uri="{FF2B5EF4-FFF2-40B4-BE49-F238E27FC236}">
                  <a16:creationId xmlns:a16="http://schemas.microsoft.com/office/drawing/2014/main" id="{52512AAB-3247-2A23-7737-D214CF6B5FB4}"/>
                </a:ext>
              </a:extLst>
            </p:cNvPr>
            <p:cNvGrpSpPr/>
            <p:nvPr/>
          </p:nvGrpSpPr>
          <p:grpSpPr>
            <a:xfrm>
              <a:off x="-502267" y="3212338"/>
              <a:ext cx="411956" cy="216662"/>
              <a:chOff x="-615197" y="4295013"/>
              <a:chExt cx="411956" cy="216662"/>
            </a:xfrm>
          </p:grpSpPr>
          <p:cxnSp>
            <p:nvCxnSpPr>
              <p:cNvPr id="40" name="Gerader Verbinder 39">
                <a:extLst>
                  <a:ext uri="{FF2B5EF4-FFF2-40B4-BE49-F238E27FC236}">
                    <a16:creationId xmlns:a16="http://schemas.microsoft.com/office/drawing/2014/main" id="{514803C0-8A06-BCFB-1C79-0BADA7F0124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Textfeld 40">
                <a:extLst>
                  <a:ext uri="{FF2B5EF4-FFF2-40B4-BE49-F238E27FC236}">
                    <a16:creationId xmlns:a16="http://schemas.microsoft.com/office/drawing/2014/main" id="{5FDA0645-8907-8C9F-6E70-DE3E265D04B8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0.00</a:t>
                </a:r>
              </a:p>
            </p:txBody>
          </p:sp>
        </p:grpSp>
        <p:grpSp>
          <p:nvGrpSpPr>
            <p:cNvPr id="31" name="Gruppieren 30">
              <a:extLst>
                <a:ext uri="{FF2B5EF4-FFF2-40B4-BE49-F238E27FC236}">
                  <a16:creationId xmlns:a16="http://schemas.microsoft.com/office/drawing/2014/main" id="{F8D50662-B92C-D47E-C633-9896AB03308E}"/>
                </a:ext>
              </a:extLst>
            </p:cNvPr>
            <p:cNvGrpSpPr/>
            <p:nvPr/>
          </p:nvGrpSpPr>
          <p:grpSpPr>
            <a:xfrm>
              <a:off x="-502267" y="835851"/>
              <a:ext cx="411956" cy="216662"/>
              <a:chOff x="-615197" y="4295013"/>
              <a:chExt cx="411956" cy="216662"/>
            </a:xfrm>
          </p:grpSpPr>
          <p:cxnSp>
            <p:nvCxnSpPr>
              <p:cNvPr id="38" name="Gerader Verbinder 37">
                <a:extLst>
                  <a:ext uri="{FF2B5EF4-FFF2-40B4-BE49-F238E27FC236}">
                    <a16:creationId xmlns:a16="http://schemas.microsoft.com/office/drawing/2014/main" id="{84AE9E19-C514-B707-FD78-3CBE98C5B1A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9" name="Textfeld 38">
                <a:extLst>
                  <a:ext uri="{FF2B5EF4-FFF2-40B4-BE49-F238E27FC236}">
                    <a16:creationId xmlns:a16="http://schemas.microsoft.com/office/drawing/2014/main" id="{A15F6996-066E-1CC8-A091-E8975406827C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6.60</a:t>
                </a:r>
              </a:p>
            </p:txBody>
          </p:sp>
        </p:grp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62EBE702-2867-AA2E-9A6D-1C8E0E8E172E}"/>
                </a:ext>
              </a:extLst>
            </p:cNvPr>
            <p:cNvGrpSpPr/>
            <p:nvPr/>
          </p:nvGrpSpPr>
          <p:grpSpPr>
            <a:xfrm>
              <a:off x="-502267" y="1412113"/>
              <a:ext cx="411956" cy="216662"/>
              <a:chOff x="-615197" y="4295013"/>
              <a:chExt cx="411956" cy="216662"/>
            </a:xfrm>
          </p:grpSpPr>
          <p:cxnSp>
            <p:nvCxnSpPr>
              <p:cNvPr id="36" name="Gerader Verbinder 35">
                <a:extLst>
                  <a:ext uri="{FF2B5EF4-FFF2-40B4-BE49-F238E27FC236}">
                    <a16:creationId xmlns:a16="http://schemas.microsoft.com/office/drawing/2014/main" id="{476C0EEF-7956-8E58-C4B3-148299C22BE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7" name="Textfeld 36">
                <a:extLst>
                  <a:ext uri="{FF2B5EF4-FFF2-40B4-BE49-F238E27FC236}">
                    <a16:creationId xmlns:a16="http://schemas.microsoft.com/office/drawing/2014/main" id="{4BA90DB4-A0F1-BD9E-C592-FEF4AD34D011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5.00</a:t>
                </a:r>
              </a:p>
            </p:txBody>
          </p:sp>
        </p:grpSp>
        <p:grpSp>
          <p:nvGrpSpPr>
            <p:cNvPr id="33" name="Gruppieren 32">
              <a:extLst>
                <a:ext uri="{FF2B5EF4-FFF2-40B4-BE49-F238E27FC236}">
                  <a16:creationId xmlns:a16="http://schemas.microsoft.com/office/drawing/2014/main" id="{761145E8-11D8-0F20-17A8-2DCDAA470002}"/>
                </a:ext>
              </a:extLst>
            </p:cNvPr>
            <p:cNvGrpSpPr/>
            <p:nvPr/>
          </p:nvGrpSpPr>
          <p:grpSpPr>
            <a:xfrm>
              <a:off x="-502267" y="80201"/>
              <a:ext cx="411956" cy="216662"/>
              <a:chOff x="-615197" y="4258501"/>
              <a:chExt cx="411956" cy="216662"/>
            </a:xfrm>
          </p:grpSpPr>
          <p:cxnSp>
            <p:nvCxnSpPr>
              <p:cNvPr id="34" name="Gerader Verbinder 33">
                <a:extLst>
                  <a:ext uri="{FF2B5EF4-FFF2-40B4-BE49-F238E27FC236}">
                    <a16:creationId xmlns:a16="http://schemas.microsoft.com/office/drawing/2014/main" id="{10761691-A2F1-0F96-832F-B6DD5E1F5EE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75163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5" name="Textfeld 34">
                <a:extLst>
                  <a:ext uri="{FF2B5EF4-FFF2-40B4-BE49-F238E27FC236}">
                    <a16:creationId xmlns:a16="http://schemas.microsoft.com/office/drawing/2014/main" id="{FBEC2C89-36CC-F5AE-ACDD-29424809FE3C}"/>
                  </a:ext>
                </a:extLst>
              </p:cNvPr>
              <p:cNvSpPr txBox="1"/>
              <p:nvPr/>
            </p:nvSpPr>
            <p:spPr>
              <a:xfrm>
                <a:off x="-615197" y="4258501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8.70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3838265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- Text Slide | 2x photo, 2x text - next to each ot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9" y="299633"/>
            <a:ext cx="9740106" cy="369332"/>
          </a:xfrm>
        </p:spPr>
        <p:txBody>
          <a:bodyPr/>
          <a:lstStyle/>
          <a:p>
            <a:r>
              <a:rPr lang="en-US" noProof="0"/>
              <a:t>Edit Master Cover Format</a:t>
            </a:r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A276B4CC-8E3B-49AA-A6D3-2C309ED8CFEE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ZEISS Frutiger Next W1G" panose="020B0503040204020203" pitchFamily="34" charset="0"/>
              </a:defRPr>
            </a:lvl1pPr>
          </a:lstStyle>
          <a:p>
            <a:pPr lvl="0"/>
            <a:r>
              <a:rPr lang="en-US" noProof="0" dirty="0"/>
              <a:t>Edit master text format</a:t>
            </a:r>
          </a:p>
        </p:txBody>
      </p:sp>
      <p:sp>
        <p:nvSpPr>
          <p:cNvPr id="22" name="Textplatzhalter 3">
            <a:extLst>
              <a:ext uri="{FF2B5EF4-FFF2-40B4-BE49-F238E27FC236}">
                <a16:creationId xmlns:a16="http://schemas.microsoft.com/office/drawing/2014/main" id="{8E5BB036-1A1C-4EB9-AF21-69D3C12FF402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6242844" y="4006299"/>
            <a:ext cx="5433219" cy="2086521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773FBE26-823C-44A4-9918-6F7FC142C360}"/>
              </a:ext>
            </a:extLst>
          </p:cNvPr>
          <p:cNvSpPr>
            <a:spLocks noGrp="1"/>
          </p:cNvSpPr>
          <p:nvPr>
            <p:ph type="pic" sz="quarter" idx="72" hasCustomPrompt="1"/>
          </p:nvPr>
        </p:nvSpPr>
        <p:spPr>
          <a:xfrm>
            <a:off x="518318" y="1631837"/>
            <a:ext cx="5433219" cy="2086517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en-US" noProof="0"/>
              <a:t> </a:t>
            </a:r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870DAB1F-D24A-4A98-83A6-AFA36A6FC73E}"/>
              </a:ext>
            </a:extLst>
          </p:cNvPr>
          <p:cNvSpPr>
            <a:spLocks noGrp="1"/>
          </p:cNvSpPr>
          <p:nvPr>
            <p:ph type="pic" sz="quarter" idx="73" hasCustomPrompt="1"/>
          </p:nvPr>
        </p:nvSpPr>
        <p:spPr>
          <a:xfrm>
            <a:off x="6242844" y="1631837"/>
            <a:ext cx="5433219" cy="2086517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en-US" noProof="0"/>
              <a:t> </a:t>
            </a:r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A7040DB9-A329-4F37-A50E-67E566A8CCC6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518318" y="4006299"/>
            <a:ext cx="5433219" cy="2086521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3FC9287A-CD69-44F6-863F-D2F4B62FB05B}"/>
              </a:ext>
            </a:extLst>
          </p:cNvPr>
          <p:cNvSpPr>
            <a:spLocks noGrp="1"/>
          </p:cNvSpPr>
          <p:nvPr>
            <p:ph type="dt" sz="half" idx="75"/>
          </p:nvPr>
        </p:nvSpPr>
        <p:spPr/>
        <p:txBody>
          <a:bodyPr/>
          <a:lstStyle/>
          <a:p>
            <a:fld id="{5F34CB99-436C-44DD-A00F-4552AD08113A}" type="datetime3">
              <a:rPr lang="en-US" noProof="0" smtClean="0"/>
              <a:t>4 June 2025</a:t>
            </a:fld>
            <a:endParaRPr lang="en-US" noProof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86BBE43D-62FE-4990-B23B-4C909E75B1C9}"/>
              </a:ext>
            </a:extLst>
          </p:cNvPr>
          <p:cNvSpPr>
            <a:spLocks noGrp="1"/>
          </p:cNvSpPr>
          <p:nvPr>
            <p:ph type="ftr" sz="quarter" idx="76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E033AB9-360F-42F9-BD07-EADE8FDD01FA}"/>
              </a:ext>
            </a:extLst>
          </p:cNvPr>
          <p:cNvSpPr>
            <a:spLocks noGrp="1"/>
          </p:cNvSpPr>
          <p:nvPr>
            <p:ph type="sldNum" sz="quarter" idx="77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84448999"/>
      </p:ext>
    </p:extLst>
  </p:cSld>
  <p:clrMapOvr>
    <a:masterClrMapping/>
  </p:clrMapOvr>
  <p:hf sldNum="0" hdr="0" ftr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 only | free choice of des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9" y="299633"/>
            <a:ext cx="9740106" cy="369332"/>
          </a:xfrm>
        </p:spPr>
        <p:txBody>
          <a:bodyPr/>
          <a:lstStyle/>
          <a:p>
            <a:r>
              <a:rPr lang="en-US" noProof="0"/>
              <a:t>Edit Master Cover Forma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5D2E05C-DF1C-4C7B-B878-BC14435387A5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ZEISS Frutiger Next W1G" panose="020B0503040204020203" pitchFamily="34" charset="0"/>
              </a:defRPr>
            </a:lvl1pPr>
          </a:lstStyle>
          <a:p>
            <a:pPr lvl="0"/>
            <a:r>
              <a:rPr lang="en-US" noProof="0" dirty="0"/>
              <a:t>Edit master text format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3F9BA8E-4825-48A6-A582-4216864907D7}"/>
              </a:ext>
            </a:extLst>
          </p:cNvPr>
          <p:cNvSpPr>
            <a:spLocks noGrp="1"/>
          </p:cNvSpPr>
          <p:nvPr>
            <p:ph type="dt" sz="half" idx="60"/>
          </p:nvPr>
        </p:nvSpPr>
        <p:spPr/>
        <p:txBody>
          <a:bodyPr/>
          <a:lstStyle/>
          <a:p>
            <a:fld id="{5F34CB99-436C-44DD-A00F-4552AD08113A}" type="datetime3">
              <a:rPr lang="en-US" noProof="0" smtClean="0"/>
              <a:t>4 June 2025</a:t>
            </a:fld>
            <a:endParaRPr lang="en-US" noProof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72076A3-DEA6-4B13-9AAD-70073C46D293}"/>
              </a:ext>
            </a:extLst>
          </p:cNvPr>
          <p:cNvSpPr>
            <a:spLocks noGrp="1"/>
          </p:cNvSpPr>
          <p:nvPr>
            <p:ph type="ftr" sz="quarter" idx="6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AC4A35DA-5FD7-43D7-B4DF-9C598553FEFF}"/>
              </a:ext>
            </a:extLst>
          </p:cNvPr>
          <p:cNvSpPr>
            <a:spLocks noGrp="1"/>
          </p:cNvSpPr>
          <p:nvPr>
            <p:ph type="sldNum" sz="quarter" idx="62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5651918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39D9F1EE-5469-436B-B6FD-BD7093E16120}"/>
              </a:ext>
            </a:extLst>
          </p:cNvPr>
          <p:cNvGrpSpPr/>
          <p:nvPr/>
        </p:nvGrpSpPr>
        <p:grpSpPr>
          <a:xfrm>
            <a:off x="304116" y="-697714"/>
            <a:ext cx="11370764" cy="411957"/>
            <a:chOff x="304116" y="6944502"/>
            <a:chExt cx="11370764" cy="411957"/>
          </a:xfrm>
        </p:grpSpPr>
        <p:grpSp>
          <p:nvGrpSpPr>
            <p:cNvPr id="55" name="Gruppieren 54">
              <a:extLst>
                <a:ext uri="{FF2B5EF4-FFF2-40B4-BE49-F238E27FC236}">
                  <a16:creationId xmlns:a16="http://schemas.microsoft.com/office/drawing/2014/main" id="{A20FA61A-C25D-4B6B-8A62-8E2D7978A7B8}"/>
                </a:ext>
              </a:extLst>
            </p:cNvPr>
            <p:cNvGrpSpPr/>
            <p:nvPr/>
          </p:nvGrpSpPr>
          <p:grpSpPr>
            <a:xfrm rot="16200000">
              <a:off x="204049" y="7044570"/>
              <a:ext cx="411956" cy="211821"/>
              <a:chOff x="-615197" y="4299854"/>
              <a:chExt cx="411956" cy="211821"/>
            </a:xfrm>
          </p:grpSpPr>
          <p:cxnSp>
            <p:nvCxnSpPr>
              <p:cNvPr id="67" name="Gerader Verbinder 66">
                <a:extLst>
                  <a:ext uri="{FF2B5EF4-FFF2-40B4-BE49-F238E27FC236}">
                    <a16:creationId xmlns:a16="http://schemas.microsoft.com/office/drawing/2014/main" id="{47E541F9-957E-4CA5-8C23-AA7343EEA78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8" name="Textfeld 67">
                <a:extLst>
                  <a:ext uri="{FF2B5EF4-FFF2-40B4-BE49-F238E27FC236}">
                    <a16:creationId xmlns:a16="http://schemas.microsoft.com/office/drawing/2014/main" id="{239BB221-62CD-4E4C-B9F1-3C664538F707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15.50</a:t>
                </a:r>
              </a:p>
            </p:txBody>
          </p:sp>
        </p:grpSp>
        <p:grpSp>
          <p:nvGrpSpPr>
            <p:cNvPr id="56" name="Gruppieren 55">
              <a:extLst>
                <a:ext uri="{FF2B5EF4-FFF2-40B4-BE49-F238E27FC236}">
                  <a16:creationId xmlns:a16="http://schemas.microsoft.com/office/drawing/2014/main" id="{B14E815F-3FD4-4DFC-9BFA-C33AA5D18C1E}"/>
                </a:ext>
              </a:extLst>
            </p:cNvPr>
            <p:cNvGrpSpPr/>
            <p:nvPr/>
          </p:nvGrpSpPr>
          <p:grpSpPr>
            <a:xfrm rot="16200000">
              <a:off x="5639649" y="7044570"/>
              <a:ext cx="411956" cy="211821"/>
              <a:chOff x="-615197" y="4299854"/>
              <a:chExt cx="411956" cy="211821"/>
            </a:xfrm>
          </p:grpSpPr>
          <p:cxnSp>
            <p:nvCxnSpPr>
              <p:cNvPr id="65" name="Gerader Verbinder 64">
                <a:extLst>
                  <a:ext uri="{FF2B5EF4-FFF2-40B4-BE49-F238E27FC236}">
                    <a16:creationId xmlns:a16="http://schemas.microsoft.com/office/drawing/2014/main" id="{741BAD09-A2C9-4AE4-8A82-255F8EA71B2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6" name="Textfeld 65">
                <a:extLst>
                  <a:ext uri="{FF2B5EF4-FFF2-40B4-BE49-F238E27FC236}">
                    <a16:creationId xmlns:a16="http://schemas.microsoft.com/office/drawing/2014/main" id="{074B4C50-32F6-4707-B9DB-1E7FAF559D77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0.40</a:t>
                </a:r>
              </a:p>
            </p:txBody>
          </p:sp>
        </p:grpSp>
        <p:grpSp>
          <p:nvGrpSpPr>
            <p:cNvPr id="58" name="Gruppieren 57">
              <a:extLst>
                <a:ext uri="{FF2B5EF4-FFF2-40B4-BE49-F238E27FC236}">
                  <a16:creationId xmlns:a16="http://schemas.microsoft.com/office/drawing/2014/main" id="{BD4CAED8-A63D-41A6-B258-EE43C87DCA81}"/>
                </a:ext>
              </a:extLst>
            </p:cNvPr>
            <p:cNvGrpSpPr/>
            <p:nvPr/>
          </p:nvGrpSpPr>
          <p:grpSpPr>
            <a:xfrm rot="5400000">
              <a:off x="6093326" y="7046990"/>
              <a:ext cx="411956" cy="206980"/>
              <a:chOff x="-615197" y="4350961"/>
              <a:chExt cx="411956" cy="206980"/>
            </a:xfrm>
          </p:grpSpPr>
          <p:cxnSp>
            <p:nvCxnSpPr>
              <p:cNvPr id="63" name="Gerader Verbinder 62">
                <a:extLst>
                  <a:ext uri="{FF2B5EF4-FFF2-40B4-BE49-F238E27FC236}">
                    <a16:creationId xmlns:a16="http://schemas.microsoft.com/office/drawing/2014/main" id="{D39E2769-C859-4CBA-A055-9C13A3B0BCF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4" name="Textfeld 63">
                <a:extLst>
                  <a:ext uri="{FF2B5EF4-FFF2-40B4-BE49-F238E27FC236}">
                    <a16:creationId xmlns:a16="http://schemas.microsoft.com/office/drawing/2014/main" id="{E412712A-69EA-45B9-AF9B-C8AA7DAAEA20}"/>
                  </a:ext>
                </a:extLst>
              </p:cNvPr>
              <p:cNvSpPr txBox="1"/>
              <p:nvPr/>
            </p:nvSpPr>
            <p:spPr>
              <a:xfrm rot="10800000">
                <a:off x="-615197" y="4350961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0.40</a:t>
                </a:r>
              </a:p>
            </p:txBody>
          </p:sp>
        </p:grpSp>
        <p:cxnSp>
          <p:nvCxnSpPr>
            <p:cNvPr id="59" name="Gerader Verbinder 58">
              <a:extLst>
                <a:ext uri="{FF2B5EF4-FFF2-40B4-BE49-F238E27FC236}">
                  <a16:creationId xmlns:a16="http://schemas.microsoft.com/office/drawing/2014/main" id="{AA4C83C0-D56E-4002-9981-0CD08706F1E1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5890022" y="7150480"/>
              <a:ext cx="411956" cy="0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0" name="Gruppieren 59">
              <a:extLst>
                <a:ext uri="{FF2B5EF4-FFF2-40B4-BE49-F238E27FC236}">
                  <a16:creationId xmlns:a16="http://schemas.microsoft.com/office/drawing/2014/main" id="{07F2B5B1-F03A-45D9-9970-B21C134F03FF}"/>
                </a:ext>
              </a:extLst>
            </p:cNvPr>
            <p:cNvGrpSpPr/>
            <p:nvPr/>
          </p:nvGrpSpPr>
          <p:grpSpPr>
            <a:xfrm rot="16200000">
              <a:off x="11362992" y="7044570"/>
              <a:ext cx="411956" cy="211821"/>
              <a:chOff x="-615197" y="4299854"/>
              <a:chExt cx="411956" cy="211821"/>
            </a:xfrm>
          </p:grpSpPr>
          <p:cxnSp>
            <p:nvCxnSpPr>
              <p:cNvPr id="61" name="Gerader Verbinder 60">
                <a:extLst>
                  <a:ext uri="{FF2B5EF4-FFF2-40B4-BE49-F238E27FC236}">
                    <a16:creationId xmlns:a16="http://schemas.microsoft.com/office/drawing/2014/main" id="{C8CC48FA-EDBD-4970-90FD-1B630147239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2" name="Textfeld 61">
                <a:extLst>
                  <a:ext uri="{FF2B5EF4-FFF2-40B4-BE49-F238E27FC236}">
                    <a16:creationId xmlns:a16="http://schemas.microsoft.com/office/drawing/2014/main" id="{CF51976A-99FF-4C02-966F-A844870302F6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15.50</a:t>
                </a:r>
              </a:p>
            </p:txBody>
          </p:sp>
        </p:grpSp>
      </p:grpSp>
      <p:grpSp>
        <p:nvGrpSpPr>
          <p:cNvPr id="69" name="Gruppieren 68">
            <a:extLst>
              <a:ext uri="{FF2B5EF4-FFF2-40B4-BE49-F238E27FC236}">
                <a16:creationId xmlns:a16="http://schemas.microsoft.com/office/drawing/2014/main" id="{9822BDDA-FFB6-4151-9F6A-21339FB17D06}"/>
              </a:ext>
            </a:extLst>
          </p:cNvPr>
          <p:cNvGrpSpPr/>
          <p:nvPr/>
        </p:nvGrpSpPr>
        <p:grpSpPr>
          <a:xfrm>
            <a:off x="-697714" y="80201"/>
            <a:ext cx="411956" cy="6720119"/>
            <a:chOff x="-502267" y="80201"/>
            <a:chExt cx="411956" cy="6720119"/>
          </a:xfrm>
        </p:grpSpPr>
        <p:grpSp>
          <p:nvGrpSpPr>
            <p:cNvPr id="70" name="Gruppieren 69">
              <a:extLst>
                <a:ext uri="{FF2B5EF4-FFF2-40B4-BE49-F238E27FC236}">
                  <a16:creationId xmlns:a16="http://schemas.microsoft.com/office/drawing/2014/main" id="{42E651D2-A86B-4865-9091-E5A2723E842C}"/>
                </a:ext>
              </a:extLst>
            </p:cNvPr>
            <p:cNvGrpSpPr/>
            <p:nvPr/>
          </p:nvGrpSpPr>
          <p:grpSpPr>
            <a:xfrm>
              <a:off x="-502267" y="6593340"/>
              <a:ext cx="411956" cy="206980"/>
              <a:chOff x="-615197" y="4452994"/>
              <a:chExt cx="411956" cy="206980"/>
            </a:xfrm>
          </p:grpSpPr>
          <p:sp>
            <p:nvSpPr>
              <p:cNvPr id="88" name="Textfeld 87">
                <a:extLst>
                  <a:ext uri="{FF2B5EF4-FFF2-40B4-BE49-F238E27FC236}">
                    <a16:creationId xmlns:a16="http://schemas.microsoft.com/office/drawing/2014/main" id="{6C7BD123-9109-4729-A470-B8EE4CF9391F}"/>
                  </a:ext>
                </a:extLst>
              </p:cNvPr>
              <p:cNvSpPr txBox="1"/>
              <p:nvPr/>
            </p:nvSpPr>
            <p:spPr>
              <a:xfrm>
                <a:off x="-615197" y="445299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8.92</a:t>
                </a:r>
              </a:p>
            </p:txBody>
          </p:sp>
          <p:cxnSp>
            <p:nvCxnSpPr>
              <p:cNvPr id="89" name="Gerader Verbinder 88">
                <a:extLst>
                  <a:ext uri="{FF2B5EF4-FFF2-40B4-BE49-F238E27FC236}">
                    <a16:creationId xmlns:a16="http://schemas.microsoft.com/office/drawing/2014/main" id="{5F424E7D-5F74-48CC-96BA-3FF16BD6E11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97389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Gruppieren 70">
              <a:extLst>
                <a:ext uri="{FF2B5EF4-FFF2-40B4-BE49-F238E27FC236}">
                  <a16:creationId xmlns:a16="http://schemas.microsoft.com/office/drawing/2014/main" id="{9B589752-3D72-4CB2-9DDE-891F3C480BF3}"/>
                </a:ext>
              </a:extLst>
            </p:cNvPr>
            <p:cNvGrpSpPr/>
            <p:nvPr/>
          </p:nvGrpSpPr>
          <p:grpSpPr>
            <a:xfrm>
              <a:off x="-502267" y="5876163"/>
              <a:ext cx="411956" cy="216662"/>
              <a:chOff x="-615197" y="4295013"/>
              <a:chExt cx="411956" cy="216662"/>
            </a:xfrm>
          </p:grpSpPr>
          <p:cxnSp>
            <p:nvCxnSpPr>
              <p:cNvPr id="86" name="Gerader Verbinder 85">
                <a:extLst>
                  <a:ext uri="{FF2B5EF4-FFF2-40B4-BE49-F238E27FC236}">
                    <a16:creationId xmlns:a16="http://schemas.microsoft.com/office/drawing/2014/main" id="{EF18B92C-235F-47B1-BC0F-5A2E5A900A9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7" name="Textfeld 86">
                <a:extLst>
                  <a:ext uri="{FF2B5EF4-FFF2-40B4-BE49-F238E27FC236}">
                    <a16:creationId xmlns:a16="http://schemas.microsoft.com/office/drawing/2014/main" id="{5CC7113B-94DC-4CDF-B563-53198D764369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7.40</a:t>
                </a:r>
              </a:p>
            </p:txBody>
          </p:sp>
        </p:grpSp>
        <p:grpSp>
          <p:nvGrpSpPr>
            <p:cNvPr id="72" name="Gruppieren 71">
              <a:extLst>
                <a:ext uri="{FF2B5EF4-FFF2-40B4-BE49-F238E27FC236}">
                  <a16:creationId xmlns:a16="http://schemas.microsoft.com/office/drawing/2014/main" id="{14ACF831-08AE-48A2-9E29-E74FE2796AF9}"/>
                </a:ext>
              </a:extLst>
            </p:cNvPr>
            <p:cNvGrpSpPr/>
            <p:nvPr/>
          </p:nvGrpSpPr>
          <p:grpSpPr>
            <a:xfrm>
              <a:off x="-502267" y="3212338"/>
              <a:ext cx="411956" cy="216662"/>
              <a:chOff x="-615197" y="4295013"/>
              <a:chExt cx="411956" cy="216662"/>
            </a:xfrm>
          </p:grpSpPr>
          <p:cxnSp>
            <p:nvCxnSpPr>
              <p:cNvPr id="84" name="Gerader Verbinder 83">
                <a:extLst>
                  <a:ext uri="{FF2B5EF4-FFF2-40B4-BE49-F238E27FC236}">
                    <a16:creationId xmlns:a16="http://schemas.microsoft.com/office/drawing/2014/main" id="{9C65C0D1-04FE-4719-ABDF-020405CC844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5" name="Textfeld 84">
                <a:extLst>
                  <a:ext uri="{FF2B5EF4-FFF2-40B4-BE49-F238E27FC236}">
                    <a16:creationId xmlns:a16="http://schemas.microsoft.com/office/drawing/2014/main" id="{E4D054E0-452E-4349-B1B6-3C4E048FD3C7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0.00</a:t>
                </a:r>
              </a:p>
            </p:txBody>
          </p:sp>
        </p:grpSp>
        <p:grpSp>
          <p:nvGrpSpPr>
            <p:cNvPr id="73" name="Gruppieren 72">
              <a:extLst>
                <a:ext uri="{FF2B5EF4-FFF2-40B4-BE49-F238E27FC236}">
                  <a16:creationId xmlns:a16="http://schemas.microsoft.com/office/drawing/2014/main" id="{9003178A-DE83-471E-97EB-710BA1B82A10}"/>
                </a:ext>
              </a:extLst>
            </p:cNvPr>
            <p:cNvGrpSpPr/>
            <p:nvPr/>
          </p:nvGrpSpPr>
          <p:grpSpPr>
            <a:xfrm>
              <a:off x="-502267" y="835851"/>
              <a:ext cx="411956" cy="216662"/>
              <a:chOff x="-615197" y="4295013"/>
              <a:chExt cx="411956" cy="216662"/>
            </a:xfrm>
          </p:grpSpPr>
          <p:cxnSp>
            <p:nvCxnSpPr>
              <p:cNvPr id="82" name="Gerader Verbinder 81">
                <a:extLst>
                  <a:ext uri="{FF2B5EF4-FFF2-40B4-BE49-F238E27FC236}">
                    <a16:creationId xmlns:a16="http://schemas.microsoft.com/office/drawing/2014/main" id="{565CB5B8-8C91-4217-B5FF-08A83496425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3" name="Textfeld 82">
                <a:extLst>
                  <a:ext uri="{FF2B5EF4-FFF2-40B4-BE49-F238E27FC236}">
                    <a16:creationId xmlns:a16="http://schemas.microsoft.com/office/drawing/2014/main" id="{2B01466E-641C-4A41-A767-69FF26129E38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6.60</a:t>
                </a:r>
              </a:p>
            </p:txBody>
          </p:sp>
        </p:grpSp>
        <p:grpSp>
          <p:nvGrpSpPr>
            <p:cNvPr id="75" name="Gruppieren 74">
              <a:extLst>
                <a:ext uri="{FF2B5EF4-FFF2-40B4-BE49-F238E27FC236}">
                  <a16:creationId xmlns:a16="http://schemas.microsoft.com/office/drawing/2014/main" id="{DD6B9B7C-9A17-46DC-B50D-BC2A06C0DF03}"/>
                </a:ext>
              </a:extLst>
            </p:cNvPr>
            <p:cNvGrpSpPr/>
            <p:nvPr/>
          </p:nvGrpSpPr>
          <p:grpSpPr>
            <a:xfrm>
              <a:off x="-502267" y="1412113"/>
              <a:ext cx="411956" cy="216662"/>
              <a:chOff x="-615197" y="4295013"/>
              <a:chExt cx="411956" cy="216662"/>
            </a:xfrm>
          </p:grpSpPr>
          <p:cxnSp>
            <p:nvCxnSpPr>
              <p:cNvPr id="80" name="Gerader Verbinder 79">
                <a:extLst>
                  <a:ext uri="{FF2B5EF4-FFF2-40B4-BE49-F238E27FC236}">
                    <a16:creationId xmlns:a16="http://schemas.microsoft.com/office/drawing/2014/main" id="{117CA6B2-C761-47C1-8CF9-B2C45C97607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1" name="Textfeld 80">
                <a:extLst>
                  <a:ext uri="{FF2B5EF4-FFF2-40B4-BE49-F238E27FC236}">
                    <a16:creationId xmlns:a16="http://schemas.microsoft.com/office/drawing/2014/main" id="{AD89420E-7BD9-4108-B9CC-B84D331C162C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5.00</a:t>
                </a:r>
              </a:p>
            </p:txBody>
          </p:sp>
        </p:grpSp>
        <p:grpSp>
          <p:nvGrpSpPr>
            <p:cNvPr id="76" name="Gruppieren 75">
              <a:extLst>
                <a:ext uri="{FF2B5EF4-FFF2-40B4-BE49-F238E27FC236}">
                  <a16:creationId xmlns:a16="http://schemas.microsoft.com/office/drawing/2014/main" id="{163FC54C-A167-494B-9F4A-058AADC8B83E}"/>
                </a:ext>
              </a:extLst>
            </p:cNvPr>
            <p:cNvGrpSpPr/>
            <p:nvPr/>
          </p:nvGrpSpPr>
          <p:grpSpPr>
            <a:xfrm>
              <a:off x="-502267" y="80201"/>
              <a:ext cx="411956" cy="216662"/>
              <a:chOff x="-615197" y="4258501"/>
              <a:chExt cx="411956" cy="216662"/>
            </a:xfrm>
          </p:grpSpPr>
          <p:cxnSp>
            <p:nvCxnSpPr>
              <p:cNvPr id="78" name="Gerader Verbinder 77">
                <a:extLst>
                  <a:ext uri="{FF2B5EF4-FFF2-40B4-BE49-F238E27FC236}">
                    <a16:creationId xmlns:a16="http://schemas.microsoft.com/office/drawing/2014/main" id="{1FC525F1-A992-4FA6-8040-8B6AAA6C8DD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75163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9" name="Textfeld 78">
                <a:extLst>
                  <a:ext uri="{FF2B5EF4-FFF2-40B4-BE49-F238E27FC236}">
                    <a16:creationId xmlns:a16="http://schemas.microsoft.com/office/drawing/2014/main" id="{9AA31042-65E5-4306-B96F-79C6151451B9}"/>
                  </a:ext>
                </a:extLst>
              </p:cNvPr>
              <p:cNvSpPr txBox="1"/>
              <p:nvPr/>
            </p:nvSpPr>
            <p:spPr>
              <a:xfrm>
                <a:off x="-615197" y="4258501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8.70</a:t>
                </a:r>
              </a:p>
            </p:txBody>
          </p:sp>
        </p:grpSp>
      </p:grp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C9D917BD-B1B2-6F38-9237-8AFBCA8DCB93}"/>
              </a:ext>
            </a:extLst>
          </p:cNvPr>
          <p:cNvGrpSpPr/>
          <p:nvPr/>
        </p:nvGrpSpPr>
        <p:grpSpPr>
          <a:xfrm>
            <a:off x="5024731" y="2271830"/>
            <a:ext cx="2142538" cy="2169997"/>
            <a:chOff x="5024731" y="2271830"/>
            <a:chExt cx="2142538" cy="2169997"/>
          </a:xfrm>
        </p:grpSpPr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6026C4C0-1C42-F462-BBE4-D2258797CAB9}"/>
                </a:ext>
              </a:extLst>
            </p:cNvPr>
            <p:cNvSpPr/>
            <p:nvPr/>
          </p:nvSpPr>
          <p:spPr>
            <a:xfrm>
              <a:off x="5024731" y="4114829"/>
              <a:ext cx="2142538" cy="326998"/>
            </a:xfrm>
            <a:custGeom>
              <a:avLst/>
              <a:gdLst>
                <a:gd name="connsiteX0" fmla="*/ 1957197 w 2028921"/>
                <a:gd name="connsiteY0" fmla="*/ 94202 h 309658"/>
                <a:gd name="connsiteX1" fmla="*/ 1937576 w 2028921"/>
                <a:gd name="connsiteY1" fmla="*/ 99631 h 309658"/>
                <a:gd name="connsiteX2" fmla="*/ 1925670 w 2028921"/>
                <a:gd name="connsiteY2" fmla="*/ 113633 h 309658"/>
                <a:gd name="connsiteX3" fmla="*/ 1919764 w 2028921"/>
                <a:gd name="connsiteY3" fmla="*/ 132874 h 309658"/>
                <a:gd name="connsiteX4" fmla="*/ 1918240 w 2028921"/>
                <a:gd name="connsiteY4" fmla="*/ 153638 h 309658"/>
                <a:gd name="connsiteX5" fmla="*/ 1919955 w 2028921"/>
                <a:gd name="connsiteY5" fmla="*/ 174403 h 309658"/>
                <a:gd name="connsiteX6" fmla="*/ 1925955 w 2028921"/>
                <a:gd name="connsiteY6" fmla="*/ 193738 h 309658"/>
                <a:gd name="connsiteX7" fmla="*/ 1937957 w 2028921"/>
                <a:gd name="connsiteY7" fmla="*/ 208312 h 309658"/>
                <a:gd name="connsiteX8" fmla="*/ 1957483 w 2028921"/>
                <a:gd name="connsiteY8" fmla="*/ 214027 h 309658"/>
                <a:gd name="connsiteX9" fmla="*/ 1976343 w 2028921"/>
                <a:gd name="connsiteY9" fmla="*/ 208121 h 309658"/>
                <a:gd name="connsiteX10" fmla="*/ 1988630 w 2028921"/>
                <a:gd name="connsiteY10" fmla="*/ 193453 h 309658"/>
                <a:gd name="connsiteX11" fmla="*/ 1995202 w 2028921"/>
                <a:gd name="connsiteY11" fmla="*/ 174022 h 309658"/>
                <a:gd name="connsiteX12" fmla="*/ 1997107 w 2028921"/>
                <a:gd name="connsiteY12" fmla="*/ 153638 h 309658"/>
                <a:gd name="connsiteX13" fmla="*/ 1995107 w 2028921"/>
                <a:gd name="connsiteY13" fmla="*/ 133350 h 309658"/>
                <a:gd name="connsiteX14" fmla="*/ 1988344 w 2028921"/>
                <a:gd name="connsiteY14" fmla="*/ 114109 h 309658"/>
                <a:gd name="connsiteX15" fmla="*/ 1976057 w 2028921"/>
                <a:gd name="connsiteY15" fmla="*/ 99727 h 309658"/>
                <a:gd name="connsiteX16" fmla="*/ 1957197 w 2028921"/>
                <a:gd name="connsiteY16" fmla="*/ 94202 h 309658"/>
                <a:gd name="connsiteX17" fmla="*/ 821437 w 2028921"/>
                <a:gd name="connsiteY17" fmla="*/ 94107 h 309658"/>
                <a:gd name="connsiteX18" fmla="*/ 801625 w 2028921"/>
                <a:gd name="connsiteY18" fmla="*/ 99536 h 309658"/>
                <a:gd name="connsiteX19" fmla="*/ 789623 w 2028921"/>
                <a:gd name="connsiteY19" fmla="*/ 113538 h 309658"/>
                <a:gd name="connsiteX20" fmla="*/ 783718 w 2028921"/>
                <a:gd name="connsiteY20" fmla="*/ 132779 h 309658"/>
                <a:gd name="connsiteX21" fmla="*/ 782194 w 2028921"/>
                <a:gd name="connsiteY21" fmla="*/ 153543 h 309658"/>
                <a:gd name="connsiteX22" fmla="*/ 783908 w 2028921"/>
                <a:gd name="connsiteY22" fmla="*/ 173165 h 309658"/>
                <a:gd name="connsiteX23" fmla="*/ 789909 w 2028921"/>
                <a:gd name="connsiteY23" fmla="*/ 191738 h 309658"/>
                <a:gd name="connsiteX24" fmla="*/ 801815 w 2028921"/>
                <a:gd name="connsiteY24" fmla="*/ 205169 h 309658"/>
                <a:gd name="connsiteX25" fmla="*/ 821151 w 2028921"/>
                <a:gd name="connsiteY25" fmla="*/ 210407 h 309658"/>
                <a:gd name="connsiteX26" fmla="*/ 840010 w 2028921"/>
                <a:gd name="connsiteY26" fmla="*/ 204978 h 309658"/>
                <a:gd name="connsiteX27" fmla="*/ 852298 w 2028921"/>
                <a:gd name="connsiteY27" fmla="*/ 191262 h 309658"/>
                <a:gd name="connsiteX28" fmla="*/ 859060 w 2028921"/>
                <a:gd name="connsiteY28" fmla="*/ 172974 h 309658"/>
                <a:gd name="connsiteX29" fmla="*/ 861061 w 2028921"/>
                <a:gd name="connsiteY29" fmla="*/ 153543 h 309658"/>
                <a:gd name="connsiteX30" fmla="*/ 859156 w 2028921"/>
                <a:gd name="connsiteY30" fmla="*/ 133255 h 309658"/>
                <a:gd name="connsiteX31" fmla="*/ 852584 w 2028921"/>
                <a:gd name="connsiteY31" fmla="*/ 114014 h 309658"/>
                <a:gd name="connsiteX32" fmla="*/ 840296 w 2028921"/>
                <a:gd name="connsiteY32" fmla="*/ 99632 h 309658"/>
                <a:gd name="connsiteX33" fmla="*/ 821437 w 2028921"/>
                <a:gd name="connsiteY33" fmla="*/ 94107 h 309658"/>
                <a:gd name="connsiteX34" fmla="*/ 1107663 w 2028921"/>
                <a:gd name="connsiteY34" fmla="*/ 93916 h 309658"/>
                <a:gd name="connsiteX35" fmla="*/ 1088803 w 2028921"/>
                <a:gd name="connsiteY35" fmla="*/ 99441 h 309658"/>
                <a:gd name="connsiteX36" fmla="*/ 1076516 w 2028921"/>
                <a:gd name="connsiteY36" fmla="*/ 113633 h 309658"/>
                <a:gd name="connsiteX37" fmla="*/ 1069753 w 2028921"/>
                <a:gd name="connsiteY37" fmla="*/ 132779 h 309658"/>
                <a:gd name="connsiteX38" fmla="*/ 1067753 w 2028921"/>
                <a:gd name="connsiteY38" fmla="*/ 153067 h 309658"/>
                <a:gd name="connsiteX39" fmla="*/ 1069658 w 2028921"/>
                <a:gd name="connsiteY39" fmla="*/ 173450 h 309658"/>
                <a:gd name="connsiteX40" fmla="*/ 1076135 w 2028921"/>
                <a:gd name="connsiteY40" fmla="*/ 193357 h 309658"/>
                <a:gd name="connsiteX41" fmla="*/ 1088422 w 2028921"/>
                <a:gd name="connsiteY41" fmla="*/ 208026 h 309658"/>
                <a:gd name="connsiteX42" fmla="*/ 1107281 w 2028921"/>
                <a:gd name="connsiteY42" fmla="*/ 213931 h 309658"/>
                <a:gd name="connsiteX43" fmla="*/ 1126808 w 2028921"/>
                <a:gd name="connsiteY43" fmla="*/ 208216 h 309658"/>
                <a:gd name="connsiteX44" fmla="*/ 1138809 w 2028921"/>
                <a:gd name="connsiteY44" fmla="*/ 193643 h 309658"/>
                <a:gd name="connsiteX45" fmla="*/ 1144905 w 2028921"/>
                <a:gd name="connsiteY45" fmla="*/ 174022 h 309658"/>
                <a:gd name="connsiteX46" fmla="*/ 1146620 w 2028921"/>
                <a:gd name="connsiteY46" fmla="*/ 153067 h 309658"/>
                <a:gd name="connsiteX47" fmla="*/ 1145096 w 2028921"/>
                <a:gd name="connsiteY47" fmla="*/ 132493 h 309658"/>
                <a:gd name="connsiteX48" fmla="*/ 1139190 w 2028921"/>
                <a:gd name="connsiteY48" fmla="*/ 113347 h 309658"/>
                <a:gd name="connsiteX49" fmla="*/ 1127284 w 2028921"/>
                <a:gd name="connsiteY49" fmla="*/ 99346 h 309658"/>
                <a:gd name="connsiteX50" fmla="*/ 1107663 w 2028921"/>
                <a:gd name="connsiteY50" fmla="*/ 93916 h 309658"/>
                <a:gd name="connsiteX51" fmla="*/ 1598676 w 2028921"/>
                <a:gd name="connsiteY51" fmla="*/ 93536 h 309658"/>
                <a:gd name="connsiteX52" fmla="*/ 1578673 w 2028921"/>
                <a:gd name="connsiteY52" fmla="*/ 98774 h 309658"/>
                <a:gd name="connsiteX53" fmla="*/ 1565434 w 2028921"/>
                <a:gd name="connsiteY53" fmla="*/ 112681 h 309658"/>
                <a:gd name="connsiteX54" fmla="*/ 1557909 w 2028921"/>
                <a:gd name="connsiteY54" fmla="*/ 131921 h 309658"/>
                <a:gd name="connsiteX55" fmla="*/ 1555528 w 2028921"/>
                <a:gd name="connsiteY55" fmla="*/ 153353 h 309658"/>
                <a:gd name="connsiteX56" fmla="*/ 1557909 w 2028921"/>
                <a:gd name="connsiteY56" fmla="*/ 175450 h 309658"/>
                <a:gd name="connsiteX57" fmla="*/ 1565148 w 2028921"/>
                <a:gd name="connsiteY57" fmla="*/ 195072 h 309658"/>
                <a:gd name="connsiteX58" fmla="*/ 1578578 w 2028921"/>
                <a:gd name="connsiteY58" fmla="*/ 208979 h 309658"/>
                <a:gd name="connsiteX59" fmla="*/ 1598580 w 2028921"/>
                <a:gd name="connsiteY59" fmla="*/ 214408 h 309658"/>
                <a:gd name="connsiteX60" fmla="*/ 1618392 w 2028921"/>
                <a:gd name="connsiteY60" fmla="*/ 208979 h 309658"/>
                <a:gd name="connsiteX61" fmla="*/ 1631823 w 2028921"/>
                <a:gd name="connsiteY61" fmla="*/ 195072 h 309658"/>
                <a:gd name="connsiteX62" fmla="*/ 1639347 w 2028921"/>
                <a:gd name="connsiteY62" fmla="*/ 175641 h 309658"/>
                <a:gd name="connsiteX63" fmla="*/ 1641729 w 2028921"/>
                <a:gd name="connsiteY63" fmla="*/ 153257 h 309658"/>
                <a:gd name="connsiteX64" fmla="*/ 1639538 w 2028921"/>
                <a:gd name="connsiteY64" fmla="*/ 131731 h 309658"/>
                <a:gd name="connsiteX65" fmla="*/ 1632204 w 2028921"/>
                <a:gd name="connsiteY65" fmla="*/ 112490 h 309658"/>
                <a:gd name="connsiteX66" fmla="*/ 1618964 w 2028921"/>
                <a:gd name="connsiteY66" fmla="*/ 98774 h 309658"/>
                <a:gd name="connsiteX67" fmla="*/ 1598676 w 2028921"/>
                <a:gd name="connsiteY67" fmla="*/ 93536 h 309658"/>
                <a:gd name="connsiteX68" fmla="*/ 1282922 w 2028921"/>
                <a:gd name="connsiteY68" fmla="*/ 91440 h 309658"/>
                <a:gd name="connsiteX69" fmla="*/ 1265587 w 2028921"/>
                <a:gd name="connsiteY69" fmla="*/ 95822 h 309658"/>
                <a:gd name="connsiteX70" fmla="*/ 1253299 w 2028921"/>
                <a:gd name="connsiteY70" fmla="*/ 107252 h 309658"/>
                <a:gd name="connsiteX71" fmla="*/ 1245775 w 2028921"/>
                <a:gd name="connsiteY71" fmla="*/ 123063 h 309658"/>
                <a:gd name="connsiteX72" fmla="*/ 1243012 w 2028921"/>
                <a:gd name="connsiteY72" fmla="*/ 140685 h 309658"/>
                <a:gd name="connsiteX73" fmla="*/ 1317776 w 2028921"/>
                <a:gd name="connsiteY73" fmla="*/ 140685 h 309658"/>
                <a:gd name="connsiteX74" fmla="*/ 1317784 w 2028921"/>
                <a:gd name="connsiteY74" fmla="*/ 140780 h 309658"/>
                <a:gd name="connsiteX75" fmla="*/ 1317784 w 2028921"/>
                <a:gd name="connsiteY75" fmla="*/ 140685 h 309658"/>
                <a:gd name="connsiteX76" fmla="*/ 1317776 w 2028921"/>
                <a:gd name="connsiteY76" fmla="*/ 140685 h 309658"/>
                <a:gd name="connsiteX77" fmla="*/ 1316260 w 2028921"/>
                <a:gd name="connsiteY77" fmla="*/ 122682 h 309658"/>
                <a:gd name="connsiteX78" fmla="*/ 1310831 w 2028921"/>
                <a:gd name="connsiteY78" fmla="*/ 106871 h 309658"/>
                <a:gd name="connsiteX79" fmla="*/ 1300258 w 2028921"/>
                <a:gd name="connsiteY79" fmla="*/ 95727 h 309658"/>
                <a:gd name="connsiteX80" fmla="*/ 1282922 w 2028921"/>
                <a:gd name="connsiteY80" fmla="*/ 91440 h 309658"/>
                <a:gd name="connsiteX81" fmla="*/ 396621 w 2028921"/>
                <a:gd name="connsiteY81" fmla="*/ 91440 h 309658"/>
                <a:gd name="connsiteX82" fmla="*/ 379286 w 2028921"/>
                <a:gd name="connsiteY82" fmla="*/ 95822 h 309658"/>
                <a:gd name="connsiteX83" fmla="*/ 366998 w 2028921"/>
                <a:gd name="connsiteY83" fmla="*/ 107252 h 309658"/>
                <a:gd name="connsiteX84" fmla="*/ 359474 w 2028921"/>
                <a:gd name="connsiteY84" fmla="*/ 123063 h 309658"/>
                <a:gd name="connsiteX85" fmla="*/ 356711 w 2028921"/>
                <a:gd name="connsiteY85" fmla="*/ 140685 h 309658"/>
                <a:gd name="connsiteX86" fmla="*/ 431475 w 2028921"/>
                <a:gd name="connsiteY86" fmla="*/ 140685 h 309658"/>
                <a:gd name="connsiteX87" fmla="*/ 431483 w 2028921"/>
                <a:gd name="connsiteY87" fmla="*/ 140780 h 309658"/>
                <a:gd name="connsiteX88" fmla="*/ 431483 w 2028921"/>
                <a:gd name="connsiteY88" fmla="*/ 140685 h 309658"/>
                <a:gd name="connsiteX89" fmla="*/ 431475 w 2028921"/>
                <a:gd name="connsiteY89" fmla="*/ 140685 h 309658"/>
                <a:gd name="connsiteX90" fmla="*/ 429959 w 2028921"/>
                <a:gd name="connsiteY90" fmla="*/ 122682 h 309658"/>
                <a:gd name="connsiteX91" fmla="*/ 424529 w 2028921"/>
                <a:gd name="connsiteY91" fmla="*/ 106871 h 309658"/>
                <a:gd name="connsiteX92" fmla="*/ 413957 w 2028921"/>
                <a:gd name="connsiteY92" fmla="*/ 95727 h 309658"/>
                <a:gd name="connsiteX93" fmla="*/ 396621 w 2028921"/>
                <a:gd name="connsiteY93" fmla="*/ 91440 h 309658"/>
                <a:gd name="connsiteX94" fmla="*/ 230505 w 2028921"/>
                <a:gd name="connsiteY94" fmla="*/ 91440 h 309658"/>
                <a:gd name="connsiteX95" fmla="*/ 213170 w 2028921"/>
                <a:gd name="connsiteY95" fmla="*/ 95822 h 309658"/>
                <a:gd name="connsiteX96" fmla="*/ 200883 w 2028921"/>
                <a:gd name="connsiteY96" fmla="*/ 107252 h 309658"/>
                <a:gd name="connsiteX97" fmla="*/ 193358 w 2028921"/>
                <a:gd name="connsiteY97" fmla="*/ 123063 h 309658"/>
                <a:gd name="connsiteX98" fmla="*/ 190596 w 2028921"/>
                <a:gd name="connsiteY98" fmla="*/ 140685 h 309658"/>
                <a:gd name="connsiteX99" fmla="*/ 265359 w 2028921"/>
                <a:gd name="connsiteY99" fmla="*/ 140685 h 309658"/>
                <a:gd name="connsiteX100" fmla="*/ 265367 w 2028921"/>
                <a:gd name="connsiteY100" fmla="*/ 140780 h 309658"/>
                <a:gd name="connsiteX101" fmla="*/ 265367 w 2028921"/>
                <a:gd name="connsiteY101" fmla="*/ 140685 h 309658"/>
                <a:gd name="connsiteX102" fmla="*/ 265359 w 2028921"/>
                <a:gd name="connsiteY102" fmla="*/ 140685 h 309658"/>
                <a:gd name="connsiteX103" fmla="*/ 263843 w 2028921"/>
                <a:gd name="connsiteY103" fmla="*/ 122682 h 309658"/>
                <a:gd name="connsiteX104" fmla="*/ 258413 w 2028921"/>
                <a:gd name="connsiteY104" fmla="*/ 106871 h 309658"/>
                <a:gd name="connsiteX105" fmla="*/ 247841 w 2028921"/>
                <a:gd name="connsiteY105" fmla="*/ 95727 h 309658"/>
                <a:gd name="connsiteX106" fmla="*/ 230505 w 2028921"/>
                <a:gd name="connsiteY106" fmla="*/ 91440 h 309658"/>
                <a:gd name="connsiteX107" fmla="*/ 499872 w 2028921"/>
                <a:gd name="connsiteY107" fmla="*/ 72199 h 309658"/>
                <a:gd name="connsiteX108" fmla="*/ 531114 w 2028921"/>
                <a:gd name="connsiteY108" fmla="*/ 72199 h 309658"/>
                <a:gd name="connsiteX109" fmla="*/ 531114 w 2028921"/>
                <a:gd name="connsiteY109" fmla="*/ 235553 h 309658"/>
                <a:gd name="connsiteX110" fmla="*/ 499872 w 2028921"/>
                <a:gd name="connsiteY110" fmla="*/ 235553 h 309658"/>
                <a:gd name="connsiteX111" fmla="*/ 1364361 w 2028921"/>
                <a:gd name="connsiteY111" fmla="*/ 72104 h 309658"/>
                <a:gd name="connsiteX112" fmla="*/ 1398365 w 2028921"/>
                <a:gd name="connsiteY112" fmla="*/ 72104 h 309658"/>
                <a:gd name="connsiteX113" fmla="*/ 1436465 w 2028921"/>
                <a:gd name="connsiteY113" fmla="*/ 206406 h 309658"/>
                <a:gd name="connsiteX114" fmla="*/ 1473899 w 2028921"/>
                <a:gd name="connsiteY114" fmla="*/ 72104 h 309658"/>
                <a:gd name="connsiteX115" fmla="*/ 1505712 w 2028921"/>
                <a:gd name="connsiteY115" fmla="*/ 72104 h 309658"/>
                <a:gd name="connsiteX116" fmla="*/ 1446086 w 2028921"/>
                <a:gd name="connsiteY116" fmla="*/ 257365 h 309658"/>
                <a:gd name="connsiteX117" fmla="*/ 1438942 w 2028921"/>
                <a:gd name="connsiteY117" fmla="*/ 276129 h 309658"/>
                <a:gd name="connsiteX118" fmla="*/ 1428940 w 2028921"/>
                <a:gd name="connsiteY118" fmla="*/ 292988 h 309658"/>
                <a:gd name="connsiteX119" fmla="*/ 1414462 w 2028921"/>
                <a:gd name="connsiteY119" fmla="*/ 305085 h 309658"/>
                <a:gd name="connsiteX120" fmla="*/ 1393698 w 2028921"/>
                <a:gd name="connsiteY120" fmla="*/ 309657 h 309658"/>
                <a:gd name="connsiteX121" fmla="*/ 1370933 w 2028921"/>
                <a:gd name="connsiteY121" fmla="*/ 307371 h 309658"/>
                <a:gd name="connsiteX122" fmla="*/ 1372838 w 2028921"/>
                <a:gd name="connsiteY122" fmla="*/ 282225 h 309658"/>
                <a:gd name="connsiteX123" fmla="*/ 1388174 w 2028921"/>
                <a:gd name="connsiteY123" fmla="*/ 284511 h 309658"/>
                <a:gd name="connsiteX124" fmla="*/ 1406081 w 2028921"/>
                <a:gd name="connsiteY124" fmla="*/ 276320 h 309658"/>
                <a:gd name="connsiteX125" fmla="*/ 1417129 w 2028921"/>
                <a:gd name="connsiteY125" fmla="*/ 251460 h 309658"/>
                <a:gd name="connsiteX126" fmla="*/ 1420273 w 2028921"/>
                <a:gd name="connsiteY126" fmla="*/ 241363 h 309658"/>
                <a:gd name="connsiteX127" fmla="*/ 1793272 w 2028921"/>
                <a:gd name="connsiteY127" fmla="*/ 68961 h 309658"/>
                <a:gd name="connsiteX128" fmla="*/ 1817752 w 2028921"/>
                <a:gd name="connsiteY128" fmla="*/ 73533 h 309658"/>
                <a:gd name="connsiteX129" fmla="*/ 1833944 w 2028921"/>
                <a:gd name="connsiteY129" fmla="*/ 86392 h 309658"/>
                <a:gd name="connsiteX130" fmla="*/ 1842802 w 2028921"/>
                <a:gd name="connsiteY130" fmla="*/ 106490 h 309658"/>
                <a:gd name="connsiteX131" fmla="*/ 1845565 w 2028921"/>
                <a:gd name="connsiteY131" fmla="*/ 132302 h 309658"/>
                <a:gd name="connsiteX132" fmla="*/ 1845565 w 2028921"/>
                <a:gd name="connsiteY132" fmla="*/ 235553 h 309658"/>
                <a:gd name="connsiteX133" fmla="*/ 1814037 w 2028921"/>
                <a:gd name="connsiteY133" fmla="*/ 235553 h 309658"/>
                <a:gd name="connsiteX134" fmla="*/ 1814037 w 2028921"/>
                <a:gd name="connsiteY134" fmla="*/ 139160 h 309658"/>
                <a:gd name="connsiteX135" fmla="*/ 1812989 w 2028921"/>
                <a:gd name="connsiteY135" fmla="*/ 122491 h 309658"/>
                <a:gd name="connsiteX136" fmla="*/ 1808608 w 2028921"/>
                <a:gd name="connsiteY136" fmla="*/ 108109 h 309658"/>
                <a:gd name="connsiteX137" fmla="*/ 1799273 w 2028921"/>
                <a:gd name="connsiteY137" fmla="*/ 98107 h 309658"/>
                <a:gd name="connsiteX138" fmla="*/ 1783176 w 2028921"/>
                <a:gd name="connsiteY138" fmla="*/ 94393 h 309658"/>
                <a:gd name="connsiteX139" fmla="*/ 1764888 w 2028921"/>
                <a:gd name="connsiteY139" fmla="*/ 98965 h 309658"/>
                <a:gd name="connsiteX140" fmla="*/ 1753172 w 2028921"/>
                <a:gd name="connsiteY140" fmla="*/ 110871 h 309658"/>
                <a:gd name="connsiteX141" fmla="*/ 1746886 w 2028921"/>
                <a:gd name="connsiteY141" fmla="*/ 127540 h 309658"/>
                <a:gd name="connsiteX142" fmla="*/ 1744981 w 2028921"/>
                <a:gd name="connsiteY142" fmla="*/ 146685 h 309658"/>
                <a:gd name="connsiteX143" fmla="*/ 1744981 w 2028921"/>
                <a:gd name="connsiteY143" fmla="*/ 235553 h 309658"/>
                <a:gd name="connsiteX144" fmla="*/ 1713929 w 2028921"/>
                <a:gd name="connsiteY144" fmla="*/ 235553 h 309658"/>
                <a:gd name="connsiteX145" fmla="*/ 1713929 w 2028921"/>
                <a:gd name="connsiteY145" fmla="*/ 109728 h 309658"/>
                <a:gd name="connsiteX146" fmla="*/ 1713643 w 2028921"/>
                <a:gd name="connsiteY146" fmla="*/ 90964 h 309658"/>
                <a:gd name="connsiteX147" fmla="*/ 1712405 w 2028921"/>
                <a:gd name="connsiteY147" fmla="*/ 72199 h 309658"/>
                <a:gd name="connsiteX148" fmla="*/ 1741742 w 2028921"/>
                <a:gd name="connsiteY148" fmla="*/ 72199 h 309658"/>
                <a:gd name="connsiteX149" fmla="*/ 1742695 w 2028921"/>
                <a:gd name="connsiteY149" fmla="*/ 100298 h 309658"/>
                <a:gd name="connsiteX150" fmla="*/ 1793272 w 2028921"/>
                <a:gd name="connsiteY150" fmla="*/ 68961 h 309658"/>
                <a:gd name="connsiteX151" fmla="*/ 1598580 w 2028921"/>
                <a:gd name="connsiteY151" fmla="*/ 68961 h 309658"/>
                <a:gd name="connsiteX152" fmla="*/ 1631347 w 2028921"/>
                <a:gd name="connsiteY152" fmla="*/ 74962 h 309658"/>
                <a:gd name="connsiteX153" fmla="*/ 1655540 w 2028921"/>
                <a:gd name="connsiteY153" fmla="*/ 91916 h 309658"/>
                <a:gd name="connsiteX154" fmla="*/ 1670399 w 2028921"/>
                <a:gd name="connsiteY154" fmla="*/ 118586 h 309658"/>
                <a:gd name="connsiteX155" fmla="*/ 1675352 w 2028921"/>
                <a:gd name="connsiteY155" fmla="*/ 153257 h 309658"/>
                <a:gd name="connsiteX156" fmla="*/ 1670399 w 2028921"/>
                <a:gd name="connsiteY156" fmla="*/ 187547 h 309658"/>
                <a:gd name="connsiteX157" fmla="*/ 1655540 w 2028921"/>
                <a:gd name="connsiteY157" fmla="*/ 214789 h 309658"/>
                <a:gd name="connsiteX158" fmla="*/ 1631347 w 2028921"/>
                <a:gd name="connsiteY158" fmla="*/ 232791 h 309658"/>
                <a:gd name="connsiteX159" fmla="*/ 1598580 w 2028921"/>
                <a:gd name="connsiteY159" fmla="*/ 239173 h 309658"/>
                <a:gd name="connsiteX160" fmla="*/ 1565434 w 2028921"/>
                <a:gd name="connsiteY160" fmla="*/ 232886 h 309658"/>
                <a:gd name="connsiteX161" fmla="*/ 1532858 w 2028921"/>
                <a:gd name="connsiteY161" fmla="*/ 202216 h 309658"/>
                <a:gd name="connsiteX162" fmla="*/ 1521809 w 2028921"/>
                <a:gd name="connsiteY162" fmla="*/ 153257 h 309658"/>
                <a:gd name="connsiteX163" fmla="*/ 1527238 w 2028921"/>
                <a:gd name="connsiteY163" fmla="*/ 119158 h 309658"/>
                <a:gd name="connsiteX164" fmla="*/ 1542669 w 2028921"/>
                <a:gd name="connsiteY164" fmla="*/ 92488 h 309658"/>
                <a:gd name="connsiteX165" fmla="*/ 1566862 w 2028921"/>
                <a:gd name="connsiteY165" fmla="*/ 75152 h 309658"/>
                <a:gd name="connsiteX166" fmla="*/ 1598580 w 2028921"/>
                <a:gd name="connsiteY166" fmla="*/ 68961 h 309658"/>
                <a:gd name="connsiteX167" fmla="*/ 812388 w 2028921"/>
                <a:gd name="connsiteY167" fmla="*/ 68961 h 309658"/>
                <a:gd name="connsiteX168" fmla="*/ 841249 w 2028921"/>
                <a:gd name="connsiteY168" fmla="*/ 76295 h 309658"/>
                <a:gd name="connsiteX169" fmla="*/ 861347 w 2028921"/>
                <a:gd name="connsiteY169" fmla="*/ 99346 h 309658"/>
                <a:gd name="connsiteX170" fmla="*/ 861347 w 2028921"/>
                <a:gd name="connsiteY170" fmla="*/ 72199 h 309658"/>
                <a:gd name="connsiteX171" fmla="*/ 891350 w 2028921"/>
                <a:gd name="connsiteY171" fmla="*/ 72199 h 309658"/>
                <a:gd name="connsiteX172" fmla="*/ 891350 w 2028921"/>
                <a:gd name="connsiteY172" fmla="*/ 226409 h 309658"/>
                <a:gd name="connsiteX173" fmla="*/ 872300 w 2028921"/>
                <a:gd name="connsiteY173" fmla="*/ 288131 h 309658"/>
                <a:gd name="connsiteX174" fmla="*/ 813912 w 2028921"/>
                <a:gd name="connsiteY174" fmla="*/ 309658 h 309658"/>
                <a:gd name="connsiteX175" fmla="*/ 787242 w 2028921"/>
                <a:gd name="connsiteY175" fmla="*/ 307372 h 309658"/>
                <a:gd name="connsiteX176" fmla="*/ 760858 w 2028921"/>
                <a:gd name="connsiteY176" fmla="*/ 300799 h 309658"/>
                <a:gd name="connsiteX177" fmla="*/ 762763 w 2028921"/>
                <a:gd name="connsiteY177" fmla="*/ 273082 h 309658"/>
                <a:gd name="connsiteX178" fmla="*/ 785051 w 2028921"/>
                <a:gd name="connsiteY178" fmla="*/ 281749 h 309658"/>
                <a:gd name="connsiteX179" fmla="*/ 809245 w 2028921"/>
                <a:gd name="connsiteY179" fmla="*/ 284893 h 309658"/>
                <a:gd name="connsiteX180" fmla="*/ 832295 w 2028921"/>
                <a:gd name="connsiteY180" fmla="*/ 280607 h 309658"/>
                <a:gd name="connsiteX181" fmla="*/ 848202 w 2028921"/>
                <a:gd name="connsiteY181" fmla="*/ 268700 h 309658"/>
                <a:gd name="connsiteX182" fmla="*/ 857251 w 2028921"/>
                <a:gd name="connsiteY182" fmla="*/ 250222 h 309658"/>
                <a:gd name="connsiteX183" fmla="*/ 860013 w 2028921"/>
                <a:gd name="connsiteY183" fmla="*/ 226409 h 309658"/>
                <a:gd name="connsiteX184" fmla="*/ 860013 w 2028921"/>
                <a:gd name="connsiteY184" fmla="*/ 207169 h 309658"/>
                <a:gd name="connsiteX185" fmla="*/ 839534 w 2028921"/>
                <a:gd name="connsiteY185" fmla="*/ 228219 h 309658"/>
                <a:gd name="connsiteX186" fmla="*/ 811626 w 2028921"/>
                <a:gd name="connsiteY186" fmla="*/ 235553 h 309658"/>
                <a:gd name="connsiteX187" fmla="*/ 782480 w 2028921"/>
                <a:gd name="connsiteY187" fmla="*/ 228409 h 309658"/>
                <a:gd name="connsiteX188" fmla="*/ 762858 w 2028921"/>
                <a:gd name="connsiteY188" fmla="*/ 209645 h 309658"/>
                <a:gd name="connsiteX189" fmla="*/ 751809 w 2028921"/>
                <a:gd name="connsiteY189" fmla="*/ 183356 h 309658"/>
                <a:gd name="connsiteX190" fmla="*/ 748380 w 2028921"/>
                <a:gd name="connsiteY190" fmla="*/ 153257 h 309658"/>
                <a:gd name="connsiteX191" fmla="*/ 751809 w 2028921"/>
                <a:gd name="connsiteY191" fmla="*/ 121730 h 309658"/>
                <a:gd name="connsiteX192" fmla="*/ 763049 w 2028921"/>
                <a:gd name="connsiteY192" fmla="*/ 94774 h 309658"/>
                <a:gd name="connsiteX193" fmla="*/ 782860 w 2028921"/>
                <a:gd name="connsiteY193" fmla="*/ 76009 h 309658"/>
                <a:gd name="connsiteX194" fmla="*/ 812388 w 2028921"/>
                <a:gd name="connsiteY194" fmla="*/ 68961 h 309658"/>
                <a:gd name="connsiteX195" fmla="*/ 657701 w 2028921"/>
                <a:gd name="connsiteY195" fmla="*/ 68961 h 309658"/>
                <a:gd name="connsiteX196" fmla="*/ 682180 w 2028921"/>
                <a:gd name="connsiteY196" fmla="*/ 73533 h 309658"/>
                <a:gd name="connsiteX197" fmla="*/ 698373 w 2028921"/>
                <a:gd name="connsiteY197" fmla="*/ 86392 h 309658"/>
                <a:gd name="connsiteX198" fmla="*/ 707231 w 2028921"/>
                <a:gd name="connsiteY198" fmla="*/ 106490 h 309658"/>
                <a:gd name="connsiteX199" fmla="*/ 709994 w 2028921"/>
                <a:gd name="connsiteY199" fmla="*/ 132302 h 309658"/>
                <a:gd name="connsiteX200" fmla="*/ 709994 w 2028921"/>
                <a:gd name="connsiteY200" fmla="*/ 235553 h 309658"/>
                <a:gd name="connsiteX201" fmla="*/ 678466 w 2028921"/>
                <a:gd name="connsiteY201" fmla="*/ 235553 h 309658"/>
                <a:gd name="connsiteX202" fmla="*/ 678466 w 2028921"/>
                <a:gd name="connsiteY202" fmla="*/ 139160 h 309658"/>
                <a:gd name="connsiteX203" fmla="*/ 677323 w 2028921"/>
                <a:gd name="connsiteY203" fmla="*/ 122491 h 309658"/>
                <a:gd name="connsiteX204" fmla="*/ 672941 w 2028921"/>
                <a:gd name="connsiteY204" fmla="*/ 108109 h 309658"/>
                <a:gd name="connsiteX205" fmla="*/ 663607 w 2028921"/>
                <a:gd name="connsiteY205" fmla="*/ 98107 h 309658"/>
                <a:gd name="connsiteX206" fmla="*/ 647509 w 2028921"/>
                <a:gd name="connsiteY206" fmla="*/ 94393 h 309658"/>
                <a:gd name="connsiteX207" fmla="*/ 629222 w 2028921"/>
                <a:gd name="connsiteY207" fmla="*/ 98965 h 309658"/>
                <a:gd name="connsiteX208" fmla="*/ 617506 w 2028921"/>
                <a:gd name="connsiteY208" fmla="*/ 110871 h 309658"/>
                <a:gd name="connsiteX209" fmla="*/ 611219 w 2028921"/>
                <a:gd name="connsiteY209" fmla="*/ 127540 h 309658"/>
                <a:gd name="connsiteX210" fmla="*/ 609314 w 2028921"/>
                <a:gd name="connsiteY210" fmla="*/ 146685 h 309658"/>
                <a:gd name="connsiteX211" fmla="*/ 609314 w 2028921"/>
                <a:gd name="connsiteY211" fmla="*/ 235553 h 309658"/>
                <a:gd name="connsiteX212" fmla="*/ 578358 w 2028921"/>
                <a:gd name="connsiteY212" fmla="*/ 235553 h 309658"/>
                <a:gd name="connsiteX213" fmla="*/ 578358 w 2028921"/>
                <a:gd name="connsiteY213" fmla="*/ 109728 h 309658"/>
                <a:gd name="connsiteX214" fmla="*/ 578072 w 2028921"/>
                <a:gd name="connsiteY214" fmla="*/ 90964 h 309658"/>
                <a:gd name="connsiteX215" fmla="*/ 576834 w 2028921"/>
                <a:gd name="connsiteY215" fmla="*/ 72199 h 309658"/>
                <a:gd name="connsiteX216" fmla="*/ 606171 w 2028921"/>
                <a:gd name="connsiteY216" fmla="*/ 72199 h 309658"/>
                <a:gd name="connsiteX217" fmla="*/ 607124 w 2028921"/>
                <a:gd name="connsiteY217" fmla="*/ 100298 h 309658"/>
                <a:gd name="connsiteX218" fmla="*/ 657701 w 2028921"/>
                <a:gd name="connsiteY218" fmla="*/ 68961 h 309658"/>
                <a:gd name="connsiteX219" fmla="*/ 1282637 w 2028921"/>
                <a:gd name="connsiteY219" fmla="*/ 68866 h 309658"/>
                <a:gd name="connsiteX220" fmla="*/ 1313498 w 2028921"/>
                <a:gd name="connsiteY220" fmla="*/ 75248 h 309658"/>
                <a:gd name="connsiteX221" fmla="*/ 1333595 w 2028921"/>
                <a:gd name="connsiteY221" fmla="*/ 92679 h 309658"/>
                <a:gd name="connsiteX222" fmla="*/ 1344549 w 2028921"/>
                <a:gd name="connsiteY222" fmla="*/ 118777 h 309658"/>
                <a:gd name="connsiteX223" fmla="*/ 1347787 w 2028921"/>
                <a:gd name="connsiteY223" fmla="*/ 151162 h 309658"/>
                <a:gd name="connsiteX224" fmla="*/ 1347787 w 2028921"/>
                <a:gd name="connsiteY224" fmla="*/ 160973 h 309658"/>
                <a:gd name="connsiteX225" fmla="*/ 1243203 w 2028921"/>
                <a:gd name="connsiteY225" fmla="*/ 160973 h 309658"/>
                <a:gd name="connsiteX226" fmla="*/ 1243203 w 2028921"/>
                <a:gd name="connsiteY226" fmla="*/ 161068 h 309658"/>
                <a:gd name="connsiteX227" fmla="*/ 1246441 w 2028921"/>
                <a:gd name="connsiteY227" fmla="*/ 182499 h 309658"/>
                <a:gd name="connsiteX228" fmla="*/ 1256252 w 2028921"/>
                <a:gd name="connsiteY228" fmla="*/ 200025 h 309658"/>
                <a:gd name="connsiteX229" fmla="*/ 1272635 w 2028921"/>
                <a:gd name="connsiteY229" fmla="*/ 211932 h 309658"/>
                <a:gd name="connsiteX230" fmla="*/ 1295305 w 2028921"/>
                <a:gd name="connsiteY230" fmla="*/ 216313 h 309658"/>
                <a:gd name="connsiteX231" fmla="*/ 1317022 w 2028921"/>
                <a:gd name="connsiteY231" fmla="*/ 213837 h 309658"/>
                <a:gd name="connsiteX232" fmla="*/ 1337501 w 2028921"/>
                <a:gd name="connsiteY232" fmla="*/ 206121 h 309658"/>
                <a:gd name="connsiteX233" fmla="*/ 1339406 w 2028921"/>
                <a:gd name="connsiteY233" fmla="*/ 230315 h 309658"/>
                <a:gd name="connsiteX234" fmla="*/ 1316355 w 2028921"/>
                <a:gd name="connsiteY234" fmla="*/ 236982 h 309658"/>
                <a:gd name="connsiteX235" fmla="*/ 1291114 w 2028921"/>
                <a:gd name="connsiteY235" fmla="*/ 239078 h 309658"/>
                <a:gd name="connsiteX236" fmla="*/ 1256443 w 2028921"/>
                <a:gd name="connsiteY236" fmla="*/ 232887 h 309658"/>
                <a:gd name="connsiteX237" fmla="*/ 1231297 w 2028921"/>
                <a:gd name="connsiteY237" fmla="*/ 215266 h 309658"/>
                <a:gd name="connsiteX238" fmla="*/ 1216152 w 2028921"/>
                <a:gd name="connsiteY238" fmla="*/ 188119 h 309658"/>
                <a:gd name="connsiteX239" fmla="*/ 1211199 w 2028921"/>
                <a:gd name="connsiteY239" fmla="*/ 153162 h 309658"/>
                <a:gd name="connsiteX240" fmla="*/ 1216057 w 2028921"/>
                <a:gd name="connsiteY240" fmla="*/ 121158 h 309658"/>
                <a:gd name="connsiteX241" fmla="*/ 1230058 w 2028921"/>
                <a:gd name="connsiteY241" fmla="*/ 94203 h 309658"/>
                <a:gd name="connsiteX242" fmla="*/ 1252537 w 2028921"/>
                <a:gd name="connsiteY242" fmla="*/ 75724 h 309658"/>
                <a:gd name="connsiteX243" fmla="*/ 1282637 w 2028921"/>
                <a:gd name="connsiteY243" fmla="*/ 68866 h 309658"/>
                <a:gd name="connsiteX244" fmla="*/ 396336 w 2028921"/>
                <a:gd name="connsiteY244" fmla="*/ 68866 h 309658"/>
                <a:gd name="connsiteX245" fmla="*/ 427196 w 2028921"/>
                <a:gd name="connsiteY245" fmla="*/ 75248 h 309658"/>
                <a:gd name="connsiteX246" fmla="*/ 447294 w 2028921"/>
                <a:gd name="connsiteY246" fmla="*/ 92679 h 309658"/>
                <a:gd name="connsiteX247" fmla="*/ 458248 w 2028921"/>
                <a:gd name="connsiteY247" fmla="*/ 118777 h 309658"/>
                <a:gd name="connsiteX248" fmla="*/ 461486 w 2028921"/>
                <a:gd name="connsiteY248" fmla="*/ 151162 h 309658"/>
                <a:gd name="connsiteX249" fmla="*/ 461486 w 2028921"/>
                <a:gd name="connsiteY249" fmla="*/ 160973 h 309658"/>
                <a:gd name="connsiteX250" fmla="*/ 356902 w 2028921"/>
                <a:gd name="connsiteY250" fmla="*/ 160973 h 309658"/>
                <a:gd name="connsiteX251" fmla="*/ 356902 w 2028921"/>
                <a:gd name="connsiteY251" fmla="*/ 161068 h 309658"/>
                <a:gd name="connsiteX252" fmla="*/ 360140 w 2028921"/>
                <a:gd name="connsiteY252" fmla="*/ 182499 h 309658"/>
                <a:gd name="connsiteX253" fmla="*/ 369951 w 2028921"/>
                <a:gd name="connsiteY253" fmla="*/ 200025 h 309658"/>
                <a:gd name="connsiteX254" fmla="*/ 386334 w 2028921"/>
                <a:gd name="connsiteY254" fmla="*/ 211932 h 309658"/>
                <a:gd name="connsiteX255" fmla="*/ 409004 w 2028921"/>
                <a:gd name="connsiteY255" fmla="*/ 216313 h 309658"/>
                <a:gd name="connsiteX256" fmla="*/ 430721 w 2028921"/>
                <a:gd name="connsiteY256" fmla="*/ 213837 h 309658"/>
                <a:gd name="connsiteX257" fmla="*/ 451199 w 2028921"/>
                <a:gd name="connsiteY257" fmla="*/ 206121 h 309658"/>
                <a:gd name="connsiteX258" fmla="*/ 453104 w 2028921"/>
                <a:gd name="connsiteY258" fmla="*/ 230315 h 309658"/>
                <a:gd name="connsiteX259" fmla="*/ 430054 w 2028921"/>
                <a:gd name="connsiteY259" fmla="*/ 236982 h 309658"/>
                <a:gd name="connsiteX260" fmla="*/ 404813 w 2028921"/>
                <a:gd name="connsiteY260" fmla="*/ 239078 h 309658"/>
                <a:gd name="connsiteX261" fmla="*/ 370142 w 2028921"/>
                <a:gd name="connsiteY261" fmla="*/ 232887 h 309658"/>
                <a:gd name="connsiteX262" fmla="*/ 344996 w 2028921"/>
                <a:gd name="connsiteY262" fmla="*/ 215266 h 309658"/>
                <a:gd name="connsiteX263" fmla="*/ 329851 w 2028921"/>
                <a:gd name="connsiteY263" fmla="*/ 188119 h 309658"/>
                <a:gd name="connsiteX264" fmla="*/ 324898 w 2028921"/>
                <a:gd name="connsiteY264" fmla="*/ 153162 h 309658"/>
                <a:gd name="connsiteX265" fmla="*/ 329756 w 2028921"/>
                <a:gd name="connsiteY265" fmla="*/ 121158 h 309658"/>
                <a:gd name="connsiteX266" fmla="*/ 343757 w 2028921"/>
                <a:gd name="connsiteY266" fmla="*/ 94203 h 309658"/>
                <a:gd name="connsiteX267" fmla="*/ 366236 w 2028921"/>
                <a:gd name="connsiteY267" fmla="*/ 75724 h 309658"/>
                <a:gd name="connsiteX268" fmla="*/ 396336 w 2028921"/>
                <a:gd name="connsiteY268" fmla="*/ 68866 h 309658"/>
                <a:gd name="connsiteX269" fmla="*/ 230220 w 2028921"/>
                <a:gd name="connsiteY269" fmla="*/ 68866 h 309658"/>
                <a:gd name="connsiteX270" fmla="*/ 261081 w 2028921"/>
                <a:gd name="connsiteY270" fmla="*/ 75248 h 309658"/>
                <a:gd name="connsiteX271" fmla="*/ 281178 w 2028921"/>
                <a:gd name="connsiteY271" fmla="*/ 92679 h 309658"/>
                <a:gd name="connsiteX272" fmla="*/ 292132 w 2028921"/>
                <a:gd name="connsiteY272" fmla="*/ 118777 h 309658"/>
                <a:gd name="connsiteX273" fmla="*/ 295371 w 2028921"/>
                <a:gd name="connsiteY273" fmla="*/ 151162 h 309658"/>
                <a:gd name="connsiteX274" fmla="*/ 295371 w 2028921"/>
                <a:gd name="connsiteY274" fmla="*/ 160973 h 309658"/>
                <a:gd name="connsiteX275" fmla="*/ 190786 w 2028921"/>
                <a:gd name="connsiteY275" fmla="*/ 160973 h 309658"/>
                <a:gd name="connsiteX276" fmla="*/ 190786 w 2028921"/>
                <a:gd name="connsiteY276" fmla="*/ 161068 h 309658"/>
                <a:gd name="connsiteX277" fmla="*/ 194025 w 2028921"/>
                <a:gd name="connsiteY277" fmla="*/ 182499 h 309658"/>
                <a:gd name="connsiteX278" fmla="*/ 203835 w 2028921"/>
                <a:gd name="connsiteY278" fmla="*/ 200025 h 309658"/>
                <a:gd name="connsiteX279" fmla="*/ 220218 w 2028921"/>
                <a:gd name="connsiteY279" fmla="*/ 211932 h 309658"/>
                <a:gd name="connsiteX280" fmla="*/ 242888 w 2028921"/>
                <a:gd name="connsiteY280" fmla="*/ 216313 h 309658"/>
                <a:gd name="connsiteX281" fmla="*/ 264605 w 2028921"/>
                <a:gd name="connsiteY281" fmla="*/ 213837 h 309658"/>
                <a:gd name="connsiteX282" fmla="*/ 285084 w 2028921"/>
                <a:gd name="connsiteY282" fmla="*/ 206121 h 309658"/>
                <a:gd name="connsiteX283" fmla="*/ 286988 w 2028921"/>
                <a:gd name="connsiteY283" fmla="*/ 230315 h 309658"/>
                <a:gd name="connsiteX284" fmla="*/ 263938 w 2028921"/>
                <a:gd name="connsiteY284" fmla="*/ 236982 h 309658"/>
                <a:gd name="connsiteX285" fmla="*/ 238697 w 2028921"/>
                <a:gd name="connsiteY285" fmla="*/ 239078 h 309658"/>
                <a:gd name="connsiteX286" fmla="*/ 204026 w 2028921"/>
                <a:gd name="connsiteY286" fmla="*/ 232887 h 309658"/>
                <a:gd name="connsiteX287" fmla="*/ 178880 w 2028921"/>
                <a:gd name="connsiteY287" fmla="*/ 215266 h 309658"/>
                <a:gd name="connsiteX288" fmla="*/ 163735 w 2028921"/>
                <a:gd name="connsiteY288" fmla="*/ 188119 h 309658"/>
                <a:gd name="connsiteX289" fmla="*/ 158782 w 2028921"/>
                <a:gd name="connsiteY289" fmla="*/ 153162 h 309658"/>
                <a:gd name="connsiteX290" fmla="*/ 163640 w 2028921"/>
                <a:gd name="connsiteY290" fmla="*/ 121158 h 309658"/>
                <a:gd name="connsiteX291" fmla="*/ 177641 w 2028921"/>
                <a:gd name="connsiteY291" fmla="*/ 94203 h 309658"/>
                <a:gd name="connsiteX292" fmla="*/ 200121 w 2028921"/>
                <a:gd name="connsiteY292" fmla="*/ 75724 h 309658"/>
                <a:gd name="connsiteX293" fmla="*/ 230220 w 2028921"/>
                <a:gd name="connsiteY293" fmla="*/ 68866 h 309658"/>
                <a:gd name="connsiteX294" fmla="*/ 70866 w 2028921"/>
                <a:gd name="connsiteY294" fmla="*/ 14288 h 309658"/>
                <a:gd name="connsiteX295" fmla="*/ 118015 w 2028921"/>
                <a:gd name="connsiteY295" fmla="*/ 21146 h 309658"/>
                <a:gd name="connsiteX296" fmla="*/ 116110 w 2028921"/>
                <a:gd name="connsiteY296" fmla="*/ 49911 h 309658"/>
                <a:gd name="connsiteX297" fmla="*/ 94774 w 2028921"/>
                <a:gd name="connsiteY297" fmla="*/ 43244 h 309658"/>
                <a:gd name="connsiteX298" fmla="*/ 72771 w 2028921"/>
                <a:gd name="connsiteY298" fmla="*/ 41149 h 309658"/>
                <a:gd name="connsiteX299" fmla="*/ 59531 w 2028921"/>
                <a:gd name="connsiteY299" fmla="*/ 42768 h 309658"/>
                <a:gd name="connsiteX300" fmla="*/ 47530 w 2028921"/>
                <a:gd name="connsiteY300" fmla="*/ 48197 h 309658"/>
                <a:gd name="connsiteX301" fmla="*/ 38767 w 2028921"/>
                <a:gd name="connsiteY301" fmla="*/ 58008 h 309658"/>
                <a:gd name="connsiteX302" fmla="*/ 35338 w 2028921"/>
                <a:gd name="connsiteY302" fmla="*/ 73152 h 309658"/>
                <a:gd name="connsiteX303" fmla="*/ 37719 w 2028921"/>
                <a:gd name="connsiteY303" fmla="*/ 84868 h 309658"/>
                <a:gd name="connsiteX304" fmla="*/ 44101 w 2028921"/>
                <a:gd name="connsiteY304" fmla="*/ 93726 h 309658"/>
                <a:gd name="connsiteX305" fmla="*/ 53435 w 2028921"/>
                <a:gd name="connsiteY305" fmla="*/ 100775 h 309658"/>
                <a:gd name="connsiteX306" fmla="*/ 64389 w 2028921"/>
                <a:gd name="connsiteY306" fmla="*/ 106776 h 309658"/>
                <a:gd name="connsiteX307" fmla="*/ 81534 w 2028921"/>
                <a:gd name="connsiteY307" fmla="*/ 114967 h 309658"/>
                <a:gd name="connsiteX308" fmla="*/ 98869 w 2028921"/>
                <a:gd name="connsiteY308" fmla="*/ 124587 h 309658"/>
                <a:gd name="connsiteX309" fmla="*/ 112776 w 2028921"/>
                <a:gd name="connsiteY309" fmla="*/ 136494 h 309658"/>
                <a:gd name="connsiteX310" fmla="*/ 122111 w 2028921"/>
                <a:gd name="connsiteY310" fmla="*/ 152496 h 309658"/>
                <a:gd name="connsiteX311" fmla="*/ 125540 w 2028921"/>
                <a:gd name="connsiteY311" fmla="*/ 174403 h 309658"/>
                <a:gd name="connsiteX312" fmla="*/ 119920 w 2028921"/>
                <a:gd name="connsiteY312" fmla="*/ 203359 h 309658"/>
                <a:gd name="connsiteX313" fmla="*/ 104489 w 2028921"/>
                <a:gd name="connsiteY313" fmla="*/ 223457 h 309658"/>
                <a:gd name="connsiteX314" fmla="*/ 81534 w 2028921"/>
                <a:gd name="connsiteY314" fmla="*/ 235268 h 309658"/>
                <a:gd name="connsiteX315" fmla="*/ 53435 w 2028921"/>
                <a:gd name="connsiteY315" fmla="*/ 239173 h 309658"/>
                <a:gd name="connsiteX316" fmla="*/ 27337 w 2028921"/>
                <a:gd name="connsiteY316" fmla="*/ 237078 h 309658"/>
                <a:gd name="connsiteX317" fmla="*/ 0 w 2028921"/>
                <a:gd name="connsiteY317" fmla="*/ 230410 h 309658"/>
                <a:gd name="connsiteX318" fmla="*/ 1524 w 2028921"/>
                <a:gd name="connsiteY318" fmla="*/ 199930 h 309658"/>
                <a:gd name="connsiteX319" fmla="*/ 25717 w 2028921"/>
                <a:gd name="connsiteY319" fmla="*/ 209360 h 309658"/>
                <a:gd name="connsiteX320" fmla="*/ 51816 w 2028921"/>
                <a:gd name="connsiteY320" fmla="*/ 212313 h 309658"/>
                <a:gd name="connsiteX321" fmla="*/ 66484 w 2028921"/>
                <a:gd name="connsiteY321" fmla="*/ 210312 h 309658"/>
                <a:gd name="connsiteX322" fmla="*/ 79248 w 2028921"/>
                <a:gd name="connsiteY322" fmla="*/ 204121 h 309658"/>
                <a:gd name="connsiteX323" fmla="*/ 88297 w 2028921"/>
                <a:gd name="connsiteY323" fmla="*/ 192977 h 309658"/>
                <a:gd name="connsiteX324" fmla="*/ 91726 w 2028921"/>
                <a:gd name="connsiteY324" fmla="*/ 176308 h 309658"/>
                <a:gd name="connsiteX325" fmla="*/ 88773 w 2028921"/>
                <a:gd name="connsiteY325" fmla="*/ 162783 h 309658"/>
                <a:gd name="connsiteX326" fmla="*/ 80963 w 2028921"/>
                <a:gd name="connsiteY326" fmla="*/ 152496 h 309658"/>
                <a:gd name="connsiteX327" fmla="*/ 69532 w 2028921"/>
                <a:gd name="connsiteY327" fmla="*/ 144304 h 309658"/>
                <a:gd name="connsiteX328" fmla="*/ 55816 w 2028921"/>
                <a:gd name="connsiteY328" fmla="*/ 137160 h 309658"/>
                <a:gd name="connsiteX329" fmla="*/ 39624 w 2028921"/>
                <a:gd name="connsiteY329" fmla="*/ 128969 h 309658"/>
                <a:gd name="connsiteX330" fmla="*/ 25241 w 2028921"/>
                <a:gd name="connsiteY330" fmla="*/ 120301 h 309658"/>
                <a:gd name="connsiteX331" fmla="*/ 13335 w 2028921"/>
                <a:gd name="connsiteY331" fmla="*/ 109157 h 309658"/>
                <a:gd name="connsiteX332" fmla="*/ 5429 w 2028921"/>
                <a:gd name="connsiteY332" fmla="*/ 94488 h 309658"/>
                <a:gd name="connsiteX333" fmla="*/ 2476 w 2028921"/>
                <a:gd name="connsiteY333" fmla="*/ 75058 h 309658"/>
                <a:gd name="connsiteX334" fmla="*/ 8572 w 2028921"/>
                <a:gd name="connsiteY334" fmla="*/ 47435 h 309658"/>
                <a:gd name="connsiteX335" fmla="*/ 24479 w 2028921"/>
                <a:gd name="connsiteY335" fmla="*/ 28480 h 309658"/>
                <a:gd name="connsiteX336" fmla="*/ 46482 w 2028921"/>
                <a:gd name="connsiteY336" fmla="*/ 17717 h 309658"/>
                <a:gd name="connsiteX337" fmla="*/ 70866 w 2028921"/>
                <a:gd name="connsiteY337" fmla="*/ 14288 h 309658"/>
                <a:gd name="connsiteX338" fmla="*/ 499872 w 2028921"/>
                <a:gd name="connsiteY338" fmla="*/ 6858 h 309658"/>
                <a:gd name="connsiteX339" fmla="*/ 531114 w 2028921"/>
                <a:gd name="connsiteY339" fmla="*/ 6858 h 309658"/>
                <a:gd name="connsiteX340" fmla="*/ 531114 w 2028921"/>
                <a:gd name="connsiteY340" fmla="*/ 38576 h 309658"/>
                <a:gd name="connsiteX341" fmla="*/ 499872 w 2028921"/>
                <a:gd name="connsiteY341" fmla="*/ 38576 h 309658"/>
                <a:gd name="connsiteX342" fmla="*/ 1996155 w 2028921"/>
                <a:gd name="connsiteY342" fmla="*/ 0 h 309658"/>
                <a:gd name="connsiteX343" fmla="*/ 2027397 w 2028921"/>
                <a:gd name="connsiteY343" fmla="*/ 0 h 309658"/>
                <a:gd name="connsiteX344" fmla="*/ 2027397 w 2028921"/>
                <a:gd name="connsiteY344" fmla="*/ 186595 h 309658"/>
                <a:gd name="connsiteX345" fmla="*/ 2027873 w 2028921"/>
                <a:gd name="connsiteY345" fmla="*/ 212217 h 309658"/>
                <a:gd name="connsiteX346" fmla="*/ 2028921 w 2028921"/>
                <a:gd name="connsiteY346" fmla="*/ 235553 h 309658"/>
                <a:gd name="connsiteX347" fmla="*/ 1999964 w 2028921"/>
                <a:gd name="connsiteY347" fmla="*/ 235553 h 309658"/>
                <a:gd name="connsiteX348" fmla="*/ 1998060 w 2028921"/>
                <a:gd name="connsiteY348" fmla="*/ 208407 h 309658"/>
                <a:gd name="connsiteX349" fmla="*/ 1978057 w 2028921"/>
                <a:gd name="connsiteY349" fmla="*/ 231648 h 309658"/>
                <a:gd name="connsiteX350" fmla="*/ 1949006 w 2028921"/>
                <a:gd name="connsiteY350" fmla="*/ 239173 h 309658"/>
                <a:gd name="connsiteX351" fmla="*/ 1919002 w 2028921"/>
                <a:gd name="connsiteY351" fmla="*/ 231838 h 309658"/>
                <a:gd name="connsiteX352" fmla="*/ 1899000 w 2028921"/>
                <a:gd name="connsiteY352" fmla="*/ 212407 h 309658"/>
                <a:gd name="connsiteX353" fmla="*/ 1887760 w 2028921"/>
                <a:gd name="connsiteY353" fmla="*/ 184975 h 309658"/>
                <a:gd name="connsiteX354" fmla="*/ 1884331 w 2028921"/>
                <a:gd name="connsiteY354" fmla="*/ 153257 h 309658"/>
                <a:gd name="connsiteX355" fmla="*/ 1887760 w 2028921"/>
                <a:gd name="connsiteY355" fmla="*/ 121729 h 309658"/>
                <a:gd name="connsiteX356" fmla="*/ 1899000 w 2028921"/>
                <a:gd name="connsiteY356" fmla="*/ 94774 h 309658"/>
                <a:gd name="connsiteX357" fmla="*/ 1919002 w 2028921"/>
                <a:gd name="connsiteY357" fmla="*/ 76009 h 309658"/>
                <a:gd name="connsiteX358" fmla="*/ 1949006 w 2028921"/>
                <a:gd name="connsiteY358" fmla="*/ 68961 h 309658"/>
                <a:gd name="connsiteX359" fmla="*/ 1977105 w 2028921"/>
                <a:gd name="connsiteY359" fmla="*/ 76771 h 309658"/>
                <a:gd name="connsiteX360" fmla="*/ 1996155 w 2028921"/>
                <a:gd name="connsiteY360" fmla="*/ 99346 h 309658"/>
                <a:gd name="connsiteX361" fmla="*/ 1037368 w 2028921"/>
                <a:gd name="connsiteY361" fmla="*/ 0 h 309658"/>
                <a:gd name="connsiteX362" fmla="*/ 1068610 w 2028921"/>
                <a:gd name="connsiteY362" fmla="*/ 0 h 309658"/>
                <a:gd name="connsiteX363" fmla="*/ 1068610 w 2028921"/>
                <a:gd name="connsiteY363" fmla="*/ 99346 h 309658"/>
                <a:gd name="connsiteX364" fmla="*/ 1087946 w 2028921"/>
                <a:gd name="connsiteY364" fmla="*/ 76771 h 309658"/>
                <a:gd name="connsiteX365" fmla="*/ 1116330 w 2028921"/>
                <a:gd name="connsiteY365" fmla="*/ 68961 h 309658"/>
                <a:gd name="connsiteX366" fmla="*/ 1146334 w 2028921"/>
                <a:gd name="connsiteY366" fmla="*/ 76009 h 309658"/>
                <a:gd name="connsiteX367" fmla="*/ 1166146 w 2028921"/>
                <a:gd name="connsiteY367" fmla="*/ 94774 h 309658"/>
                <a:gd name="connsiteX368" fmla="*/ 1177100 w 2028921"/>
                <a:gd name="connsiteY368" fmla="*/ 121729 h 309658"/>
                <a:gd name="connsiteX369" fmla="*/ 1180338 w 2028921"/>
                <a:gd name="connsiteY369" fmla="*/ 153257 h 309658"/>
                <a:gd name="connsiteX370" fmla="*/ 1176909 w 2028921"/>
                <a:gd name="connsiteY370" fmla="*/ 184975 h 309658"/>
                <a:gd name="connsiteX371" fmla="*/ 1165670 w 2028921"/>
                <a:gd name="connsiteY371" fmla="*/ 212407 h 309658"/>
                <a:gd name="connsiteX372" fmla="*/ 1145667 w 2028921"/>
                <a:gd name="connsiteY372" fmla="*/ 231838 h 309658"/>
                <a:gd name="connsiteX373" fmla="*/ 1115664 w 2028921"/>
                <a:gd name="connsiteY373" fmla="*/ 239173 h 309658"/>
                <a:gd name="connsiteX374" fmla="*/ 1086803 w 2028921"/>
                <a:gd name="connsiteY374" fmla="*/ 231648 h 309658"/>
                <a:gd name="connsiteX375" fmla="*/ 1066705 w 2028921"/>
                <a:gd name="connsiteY375" fmla="*/ 208407 h 309658"/>
                <a:gd name="connsiteX376" fmla="*/ 1066038 w 2028921"/>
                <a:gd name="connsiteY376" fmla="*/ 235553 h 309658"/>
                <a:gd name="connsiteX377" fmla="*/ 1037368 w 2028921"/>
                <a:gd name="connsiteY377" fmla="*/ 235553 h 309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</a:cxnLst>
              <a:rect l="l" t="t" r="r" b="b"/>
              <a:pathLst>
                <a:path w="2028921" h="309658">
                  <a:moveTo>
                    <a:pt x="1957197" y="94202"/>
                  </a:moveTo>
                  <a:cubicBezTo>
                    <a:pt x="1949101" y="94202"/>
                    <a:pt x="1942529" y="96012"/>
                    <a:pt x="1937576" y="99631"/>
                  </a:cubicBezTo>
                  <a:cubicBezTo>
                    <a:pt x="1932623" y="103251"/>
                    <a:pt x="1928622" y="107918"/>
                    <a:pt x="1925670" y="113633"/>
                  </a:cubicBezTo>
                  <a:cubicBezTo>
                    <a:pt x="1922717" y="119444"/>
                    <a:pt x="1920812" y="125825"/>
                    <a:pt x="1919764" y="132874"/>
                  </a:cubicBezTo>
                  <a:cubicBezTo>
                    <a:pt x="1918716" y="139922"/>
                    <a:pt x="1918240" y="146875"/>
                    <a:pt x="1918240" y="153638"/>
                  </a:cubicBezTo>
                  <a:cubicBezTo>
                    <a:pt x="1918240" y="160401"/>
                    <a:pt x="1918812" y="167354"/>
                    <a:pt x="1919955" y="174403"/>
                  </a:cubicBezTo>
                  <a:cubicBezTo>
                    <a:pt x="1921098" y="181356"/>
                    <a:pt x="1923098" y="187833"/>
                    <a:pt x="1925955" y="193738"/>
                  </a:cubicBezTo>
                  <a:cubicBezTo>
                    <a:pt x="1928908" y="199644"/>
                    <a:pt x="1932909" y="204502"/>
                    <a:pt x="1937957" y="208312"/>
                  </a:cubicBezTo>
                  <a:cubicBezTo>
                    <a:pt x="1943100" y="212122"/>
                    <a:pt x="1949577" y="214027"/>
                    <a:pt x="1957483" y="214027"/>
                  </a:cubicBezTo>
                  <a:cubicBezTo>
                    <a:pt x="1965008" y="214027"/>
                    <a:pt x="1971294" y="212026"/>
                    <a:pt x="1976343" y="208121"/>
                  </a:cubicBezTo>
                  <a:cubicBezTo>
                    <a:pt x="1981486" y="204216"/>
                    <a:pt x="1985582" y="199263"/>
                    <a:pt x="1988630" y="193453"/>
                  </a:cubicBezTo>
                  <a:cubicBezTo>
                    <a:pt x="1991773" y="187547"/>
                    <a:pt x="1993964" y="181070"/>
                    <a:pt x="1995202" y="174022"/>
                  </a:cubicBezTo>
                  <a:cubicBezTo>
                    <a:pt x="1996440" y="166973"/>
                    <a:pt x="1997107" y="160115"/>
                    <a:pt x="1997107" y="153638"/>
                  </a:cubicBezTo>
                  <a:cubicBezTo>
                    <a:pt x="1997107" y="147066"/>
                    <a:pt x="1996440" y="140398"/>
                    <a:pt x="1995107" y="133350"/>
                  </a:cubicBezTo>
                  <a:cubicBezTo>
                    <a:pt x="1993773" y="126397"/>
                    <a:pt x="1991487" y="119920"/>
                    <a:pt x="1988344" y="114109"/>
                  </a:cubicBezTo>
                  <a:cubicBezTo>
                    <a:pt x="1985201" y="108204"/>
                    <a:pt x="1981105" y="103441"/>
                    <a:pt x="1976057" y="99727"/>
                  </a:cubicBezTo>
                  <a:cubicBezTo>
                    <a:pt x="1970913" y="96012"/>
                    <a:pt x="1964627" y="94202"/>
                    <a:pt x="1957197" y="94202"/>
                  </a:cubicBezTo>
                  <a:close/>
                  <a:moveTo>
                    <a:pt x="821437" y="94107"/>
                  </a:moveTo>
                  <a:cubicBezTo>
                    <a:pt x="813340" y="94107"/>
                    <a:pt x="806768" y="95917"/>
                    <a:pt x="801625" y="99536"/>
                  </a:cubicBezTo>
                  <a:cubicBezTo>
                    <a:pt x="796481" y="103156"/>
                    <a:pt x="792481" y="107823"/>
                    <a:pt x="789623" y="113538"/>
                  </a:cubicBezTo>
                  <a:cubicBezTo>
                    <a:pt x="786670" y="119348"/>
                    <a:pt x="784765" y="125730"/>
                    <a:pt x="783718" y="132779"/>
                  </a:cubicBezTo>
                  <a:cubicBezTo>
                    <a:pt x="782670" y="139827"/>
                    <a:pt x="782194" y="146780"/>
                    <a:pt x="782194" y="153543"/>
                  </a:cubicBezTo>
                  <a:cubicBezTo>
                    <a:pt x="782194" y="159830"/>
                    <a:pt x="782765" y="166402"/>
                    <a:pt x="783908" y="173165"/>
                  </a:cubicBezTo>
                  <a:cubicBezTo>
                    <a:pt x="784956" y="179927"/>
                    <a:pt x="786956" y="186119"/>
                    <a:pt x="789909" y="191738"/>
                  </a:cubicBezTo>
                  <a:cubicBezTo>
                    <a:pt x="792862" y="197167"/>
                    <a:pt x="796767" y="201644"/>
                    <a:pt x="801815" y="205169"/>
                  </a:cubicBezTo>
                  <a:cubicBezTo>
                    <a:pt x="806768" y="208693"/>
                    <a:pt x="813245" y="210407"/>
                    <a:pt x="821151" y="210407"/>
                  </a:cubicBezTo>
                  <a:cubicBezTo>
                    <a:pt x="828676" y="210407"/>
                    <a:pt x="834962" y="208598"/>
                    <a:pt x="840010" y="204978"/>
                  </a:cubicBezTo>
                  <a:cubicBezTo>
                    <a:pt x="845154" y="201358"/>
                    <a:pt x="849250" y="196787"/>
                    <a:pt x="852298" y="191262"/>
                  </a:cubicBezTo>
                  <a:cubicBezTo>
                    <a:pt x="855441" y="185738"/>
                    <a:pt x="857632" y="179641"/>
                    <a:pt x="859060" y="172974"/>
                  </a:cubicBezTo>
                  <a:cubicBezTo>
                    <a:pt x="860394" y="166307"/>
                    <a:pt x="861061" y="159830"/>
                    <a:pt x="861061" y="153543"/>
                  </a:cubicBezTo>
                  <a:cubicBezTo>
                    <a:pt x="861061" y="146971"/>
                    <a:pt x="860394" y="140303"/>
                    <a:pt x="859156" y="133255"/>
                  </a:cubicBezTo>
                  <a:cubicBezTo>
                    <a:pt x="857918" y="126301"/>
                    <a:pt x="855727" y="119824"/>
                    <a:pt x="852584" y="114014"/>
                  </a:cubicBezTo>
                  <a:cubicBezTo>
                    <a:pt x="849440" y="108109"/>
                    <a:pt x="845345" y="103346"/>
                    <a:pt x="840296" y="99632"/>
                  </a:cubicBezTo>
                  <a:cubicBezTo>
                    <a:pt x="835248" y="95917"/>
                    <a:pt x="828866" y="94107"/>
                    <a:pt x="821437" y="94107"/>
                  </a:cubicBezTo>
                  <a:close/>
                  <a:moveTo>
                    <a:pt x="1107663" y="93916"/>
                  </a:moveTo>
                  <a:cubicBezTo>
                    <a:pt x="1100138" y="93916"/>
                    <a:pt x="1093851" y="95726"/>
                    <a:pt x="1088803" y="99441"/>
                  </a:cubicBezTo>
                  <a:cubicBezTo>
                    <a:pt x="1083755" y="103156"/>
                    <a:pt x="1079564" y="107918"/>
                    <a:pt x="1076516" y="113633"/>
                  </a:cubicBezTo>
                  <a:cubicBezTo>
                    <a:pt x="1073372" y="119444"/>
                    <a:pt x="1071182" y="125730"/>
                    <a:pt x="1069753" y="132779"/>
                  </a:cubicBezTo>
                  <a:cubicBezTo>
                    <a:pt x="1068420" y="139732"/>
                    <a:pt x="1067753" y="146495"/>
                    <a:pt x="1067753" y="153067"/>
                  </a:cubicBezTo>
                  <a:cubicBezTo>
                    <a:pt x="1067753" y="159639"/>
                    <a:pt x="1068420" y="166402"/>
                    <a:pt x="1069658" y="173450"/>
                  </a:cubicBezTo>
                  <a:cubicBezTo>
                    <a:pt x="1070801" y="180689"/>
                    <a:pt x="1072992" y="187262"/>
                    <a:pt x="1076135" y="193357"/>
                  </a:cubicBezTo>
                  <a:cubicBezTo>
                    <a:pt x="1079278" y="199263"/>
                    <a:pt x="1083374" y="204121"/>
                    <a:pt x="1088422" y="208026"/>
                  </a:cubicBezTo>
                  <a:cubicBezTo>
                    <a:pt x="1093566" y="211931"/>
                    <a:pt x="1099852" y="213931"/>
                    <a:pt x="1107281" y="213931"/>
                  </a:cubicBezTo>
                  <a:cubicBezTo>
                    <a:pt x="1115187" y="213931"/>
                    <a:pt x="1121664" y="212026"/>
                    <a:pt x="1126808" y="208216"/>
                  </a:cubicBezTo>
                  <a:cubicBezTo>
                    <a:pt x="1131856" y="204406"/>
                    <a:pt x="1135952" y="199549"/>
                    <a:pt x="1138809" y="193643"/>
                  </a:cubicBezTo>
                  <a:cubicBezTo>
                    <a:pt x="1141667" y="187738"/>
                    <a:pt x="1143762" y="181261"/>
                    <a:pt x="1144905" y="174022"/>
                  </a:cubicBezTo>
                  <a:cubicBezTo>
                    <a:pt x="1146048" y="166878"/>
                    <a:pt x="1146620" y="159829"/>
                    <a:pt x="1146620" y="153067"/>
                  </a:cubicBezTo>
                  <a:cubicBezTo>
                    <a:pt x="1146620" y="146304"/>
                    <a:pt x="1146143" y="139446"/>
                    <a:pt x="1145096" y="132493"/>
                  </a:cubicBezTo>
                  <a:cubicBezTo>
                    <a:pt x="1144048" y="125539"/>
                    <a:pt x="1142048" y="119158"/>
                    <a:pt x="1139190" y="113347"/>
                  </a:cubicBezTo>
                  <a:cubicBezTo>
                    <a:pt x="1136238" y="107537"/>
                    <a:pt x="1132332" y="102870"/>
                    <a:pt x="1127284" y="99346"/>
                  </a:cubicBezTo>
                  <a:cubicBezTo>
                    <a:pt x="1122331" y="95726"/>
                    <a:pt x="1115759" y="93916"/>
                    <a:pt x="1107663" y="93916"/>
                  </a:cubicBezTo>
                  <a:close/>
                  <a:moveTo>
                    <a:pt x="1598676" y="93536"/>
                  </a:moveTo>
                  <a:cubicBezTo>
                    <a:pt x="1590770" y="93536"/>
                    <a:pt x="1584103" y="95250"/>
                    <a:pt x="1578673" y="98774"/>
                  </a:cubicBezTo>
                  <a:cubicBezTo>
                    <a:pt x="1573244" y="102299"/>
                    <a:pt x="1568863" y="106871"/>
                    <a:pt x="1565434" y="112681"/>
                  </a:cubicBezTo>
                  <a:cubicBezTo>
                    <a:pt x="1562005" y="118491"/>
                    <a:pt x="1559528" y="124873"/>
                    <a:pt x="1557909" y="131921"/>
                  </a:cubicBezTo>
                  <a:cubicBezTo>
                    <a:pt x="1556385" y="138970"/>
                    <a:pt x="1555528" y="146114"/>
                    <a:pt x="1555528" y="153353"/>
                  </a:cubicBezTo>
                  <a:cubicBezTo>
                    <a:pt x="1555528" y="160782"/>
                    <a:pt x="1556289" y="168116"/>
                    <a:pt x="1557909" y="175450"/>
                  </a:cubicBezTo>
                  <a:cubicBezTo>
                    <a:pt x="1559338" y="182594"/>
                    <a:pt x="1561814" y="189166"/>
                    <a:pt x="1565148" y="195072"/>
                  </a:cubicBezTo>
                  <a:cubicBezTo>
                    <a:pt x="1568672" y="200692"/>
                    <a:pt x="1573149" y="205359"/>
                    <a:pt x="1578578" y="208979"/>
                  </a:cubicBezTo>
                  <a:cubicBezTo>
                    <a:pt x="1584007" y="212598"/>
                    <a:pt x="1590675" y="214408"/>
                    <a:pt x="1598580" y="214408"/>
                  </a:cubicBezTo>
                  <a:cubicBezTo>
                    <a:pt x="1606296" y="214408"/>
                    <a:pt x="1612868" y="212598"/>
                    <a:pt x="1618392" y="208979"/>
                  </a:cubicBezTo>
                  <a:cubicBezTo>
                    <a:pt x="1623917" y="205359"/>
                    <a:pt x="1628394" y="200787"/>
                    <a:pt x="1631823" y="195072"/>
                  </a:cubicBezTo>
                  <a:cubicBezTo>
                    <a:pt x="1635252" y="189357"/>
                    <a:pt x="1637728" y="182975"/>
                    <a:pt x="1639347" y="175641"/>
                  </a:cubicBezTo>
                  <a:cubicBezTo>
                    <a:pt x="1640872" y="168307"/>
                    <a:pt x="1641729" y="160877"/>
                    <a:pt x="1641729" y="153257"/>
                  </a:cubicBezTo>
                  <a:cubicBezTo>
                    <a:pt x="1641729" y="146114"/>
                    <a:pt x="1640967" y="138874"/>
                    <a:pt x="1639538" y="131731"/>
                  </a:cubicBezTo>
                  <a:cubicBezTo>
                    <a:pt x="1638109" y="124587"/>
                    <a:pt x="1635633" y="118110"/>
                    <a:pt x="1632204" y="112490"/>
                  </a:cubicBezTo>
                  <a:cubicBezTo>
                    <a:pt x="1628775" y="106871"/>
                    <a:pt x="1624298" y="102203"/>
                    <a:pt x="1618964" y="98774"/>
                  </a:cubicBezTo>
                  <a:cubicBezTo>
                    <a:pt x="1613535" y="95250"/>
                    <a:pt x="1606772" y="93536"/>
                    <a:pt x="1598676" y="93536"/>
                  </a:cubicBezTo>
                  <a:close/>
                  <a:moveTo>
                    <a:pt x="1282922" y="91440"/>
                  </a:moveTo>
                  <a:cubicBezTo>
                    <a:pt x="1276255" y="91440"/>
                    <a:pt x="1270445" y="92869"/>
                    <a:pt x="1265587" y="95822"/>
                  </a:cubicBezTo>
                  <a:cubicBezTo>
                    <a:pt x="1260729" y="98775"/>
                    <a:pt x="1256538" y="102585"/>
                    <a:pt x="1253299" y="107252"/>
                  </a:cubicBezTo>
                  <a:cubicBezTo>
                    <a:pt x="1249966" y="111919"/>
                    <a:pt x="1247489" y="117253"/>
                    <a:pt x="1245775" y="123063"/>
                  </a:cubicBezTo>
                  <a:cubicBezTo>
                    <a:pt x="1244156" y="128969"/>
                    <a:pt x="1243203" y="134779"/>
                    <a:pt x="1243012" y="140685"/>
                  </a:cubicBezTo>
                  <a:lnTo>
                    <a:pt x="1317776" y="140685"/>
                  </a:lnTo>
                  <a:lnTo>
                    <a:pt x="1317784" y="140780"/>
                  </a:lnTo>
                  <a:lnTo>
                    <a:pt x="1317784" y="140685"/>
                  </a:lnTo>
                  <a:lnTo>
                    <a:pt x="1317776" y="140685"/>
                  </a:lnTo>
                  <a:lnTo>
                    <a:pt x="1316260" y="122682"/>
                  </a:lnTo>
                  <a:cubicBezTo>
                    <a:pt x="1315212" y="116682"/>
                    <a:pt x="1313402" y="111443"/>
                    <a:pt x="1310831" y="106871"/>
                  </a:cubicBezTo>
                  <a:cubicBezTo>
                    <a:pt x="1308259" y="102299"/>
                    <a:pt x="1304735" y="98584"/>
                    <a:pt x="1300258" y="95727"/>
                  </a:cubicBezTo>
                  <a:cubicBezTo>
                    <a:pt x="1295781" y="92869"/>
                    <a:pt x="1289971" y="91440"/>
                    <a:pt x="1282922" y="91440"/>
                  </a:cubicBezTo>
                  <a:close/>
                  <a:moveTo>
                    <a:pt x="396621" y="91440"/>
                  </a:moveTo>
                  <a:cubicBezTo>
                    <a:pt x="389954" y="91440"/>
                    <a:pt x="384144" y="92869"/>
                    <a:pt x="379286" y="95822"/>
                  </a:cubicBezTo>
                  <a:cubicBezTo>
                    <a:pt x="374428" y="98775"/>
                    <a:pt x="370237" y="102585"/>
                    <a:pt x="366998" y="107252"/>
                  </a:cubicBezTo>
                  <a:cubicBezTo>
                    <a:pt x="363665" y="111919"/>
                    <a:pt x="361188" y="117253"/>
                    <a:pt x="359474" y="123063"/>
                  </a:cubicBezTo>
                  <a:cubicBezTo>
                    <a:pt x="357854" y="128969"/>
                    <a:pt x="356902" y="134779"/>
                    <a:pt x="356711" y="140685"/>
                  </a:cubicBezTo>
                  <a:lnTo>
                    <a:pt x="431475" y="140685"/>
                  </a:lnTo>
                  <a:lnTo>
                    <a:pt x="431483" y="140780"/>
                  </a:lnTo>
                  <a:lnTo>
                    <a:pt x="431483" y="140685"/>
                  </a:lnTo>
                  <a:lnTo>
                    <a:pt x="431475" y="140685"/>
                  </a:lnTo>
                  <a:lnTo>
                    <a:pt x="429959" y="122682"/>
                  </a:lnTo>
                  <a:cubicBezTo>
                    <a:pt x="428911" y="116682"/>
                    <a:pt x="427101" y="111443"/>
                    <a:pt x="424529" y="106871"/>
                  </a:cubicBezTo>
                  <a:cubicBezTo>
                    <a:pt x="421958" y="102299"/>
                    <a:pt x="418434" y="98584"/>
                    <a:pt x="413957" y="95727"/>
                  </a:cubicBezTo>
                  <a:cubicBezTo>
                    <a:pt x="409480" y="92869"/>
                    <a:pt x="403670" y="91440"/>
                    <a:pt x="396621" y="91440"/>
                  </a:cubicBezTo>
                  <a:close/>
                  <a:moveTo>
                    <a:pt x="230505" y="91440"/>
                  </a:moveTo>
                  <a:cubicBezTo>
                    <a:pt x="223838" y="91440"/>
                    <a:pt x="218028" y="92869"/>
                    <a:pt x="213170" y="95822"/>
                  </a:cubicBezTo>
                  <a:cubicBezTo>
                    <a:pt x="208312" y="98775"/>
                    <a:pt x="204216" y="102585"/>
                    <a:pt x="200883" y="107252"/>
                  </a:cubicBezTo>
                  <a:cubicBezTo>
                    <a:pt x="197549" y="111919"/>
                    <a:pt x="195072" y="117253"/>
                    <a:pt x="193358" y="123063"/>
                  </a:cubicBezTo>
                  <a:cubicBezTo>
                    <a:pt x="191643" y="128969"/>
                    <a:pt x="190786" y="134779"/>
                    <a:pt x="190596" y="140685"/>
                  </a:cubicBezTo>
                  <a:lnTo>
                    <a:pt x="265359" y="140685"/>
                  </a:lnTo>
                  <a:lnTo>
                    <a:pt x="265367" y="140780"/>
                  </a:lnTo>
                  <a:lnTo>
                    <a:pt x="265367" y="140685"/>
                  </a:lnTo>
                  <a:lnTo>
                    <a:pt x="265359" y="140685"/>
                  </a:lnTo>
                  <a:lnTo>
                    <a:pt x="263843" y="122682"/>
                  </a:lnTo>
                  <a:cubicBezTo>
                    <a:pt x="262795" y="116682"/>
                    <a:pt x="260985" y="111443"/>
                    <a:pt x="258413" y="106871"/>
                  </a:cubicBezTo>
                  <a:cubicBezTo>
                    <a:pt x="255842" y="102299"/>
                    <a:pt x="252318" y="98584"/>
                    <a:pt x="247841" y="95727"/>
                  </a:cubicBezTo>
                  <a:cubicBezTo>
                    <a:pt x="243364" y="92869"/>
                    <a:pt x="237554" y="91440"/>
                    <a:pt x="230505" y="91440"/>
                  </a:cubicBezTo>
                  <a:close/>
                  <a:moveTo>
                    <a:pt x="499872" y="72199"/>
                  </a:moveTo>
                  <a:lnTo>
                    <a:pt x="531114" y="72199"/>
                  </a:lnTo>
                  <a:lnTo>
                    <a:pt x="531114" y="235553"/>
                  </a:lnTo>
                  <a:lnTo>
                    <a:pt x="499872" y="235553"/>
                  </a:lnTo>
                  <a:close/>
                  <a:moveTo>
                    <a:pt x="1364361" y="72104"/>
                  </a:moveTo>
                  <a:lnTo>
                    <a:pt x="1398365" y="72104"/>
                  </a:lnTo>
                  <a:lnTo>
                    <a:pt x="1436465" y="206406"/>
                  </a:lnTo>
                  <a:lnTo>
                    <a:pt x="1473899" y="72104"/>
                  </a:lnTo>
                  <a:lnTo>
                    <a:pt x="1505712" y="72104"/>
                  </a:lnTo>
                  <a:lnTo>
                    <a:pt x="1446086" y="257365"/>
                  </a:lnTo>
                  <a:cubicBezTo>
                    <a:pt x="1443990" y="263652"/>
                    <a:pt x="1441609" y="269938"/>
                    <a:pt x="1438942" y="276129"/>
                  </a:cubicBezTo>
                  <a:cubicBezTo>
                    <a:pt x="1436275" y="282321"/>
                    <a:pt x="1432941" y="287940"/>
                    <a:pt x="1428940" y="292988"/>
                  </a:cubicBezTo>
                  <a:cubicBezTo>
                    <a:pt x="1424940" y="298037"/>
                    <a:pt x="1420178" y="302037"/>
                    <a:pt x="1414462" y="305085"/>
                  </a:cubicBezTo>
                  <a:cubicBezTo>
                    <a:pt x="1408748" y="308133"/>
                    <a:pt x="1401794" y="309657"/>
                    <a:pt x="1393698" y="309657"/>
                  </a:cubicBezTo>
                  <a:cubicBezTo>
                    <a:pt x="1385126" y="309657"/>
                    <a:pt x="1377601" y="308895"/>
                    <a:pt x="1370933" y="307371"/>
                  </a:cubicBezTo>
                  <a:lnTo>
                    <a:pt x="1372838" y="282225"/>
                  </a:lnTo>
                  <a:cubicBezTo>
                    <a:pt x="1377791" y="283750"/>
                    <a:pt x="1382935" y="284511"/>
                    <a:pt x="1388174" y="284511"/>
                  </a:cubicBezTo>
                  <a:cubicBezTo>
                    <a:pt x="1396079" y="284511"/>
                    <a:pt x="1402080" y="281749"/>
                    <a:pt x="1406081" y="276320"/>
                  </a:cubicBezTo>
                  <a:cubicBezTo>
                    <a:pt x="1410176" y="270891"/>
                    <a:pt x="1413796" y="262604"/>
                    <a:pt x="1417129" y="251460"/>
                  </a:cubicBezTo>
                  <a:lnTo>
                    <a:pt x="1420273" y="241363"/>
                  </a:lnTo>
                  <a:close/>
                  <a:moveTo>
                    <a:pt x="1793272" y="68961"/>
                  </a:moveTo>
                  <a:cubicBezTo>
                    <a:pt x="1802797" y="68961"/>
                    <a:pt x="1810989" y="70485"/>
                    <a:pt x="1817752" y="73533"/>
                  </a:cubicBezTo>
                  <a:cubicBezTo>
                    <a:pt x="1824514" y="76581"/>
                    <a:pt x="1829944" y="80867"/>
                    <a:pt x="1833944" y="86392"/>
                  </a:cubicBezTo>
                  <a:cubicBezTo>
                    <a:pt x="1837945" y="91916"/>
                    <a:pt x="1840993" y="98679"/>
                    <a:pt x="1842802" y="106490"/>
                  </a:cubicBezTo>
                  <a:cubicBezTo>
                    <a:pt x="1844612" y="114300"/>
                    <a:pt x="1845565" y="122968"/>
                    <a:pt x="1845565" y="132302"/>
                  </a:cubicBezTo>
                  <a:lnTo>
                    <a:pt x="1845565" y="235553"/>
                  </a:lnTo>
                  <a:lnTo>
                    <a:pt x="1814037" y="235553"/>
                  </a:lnTo>
                  <a:lnTo>
                    <a:pt x="1814037" y="139160"/>
                  </a:lnTo>
                  <a:cubicBezTo>
                    <a:pt x="1814037" y="133540"/>
                    <a:pt x="1813656" y="127921"/>
                    <a:pt x="1812989" y="122491"/>
                  </a:cubicBezTo>
                  <a:cubicBezTo>
                    <a:pt x="1812227" y="117062"/>
                    <a:pt x="1810798" y="112300"/>
                    <a:pt x="1808608" y="108109"/>
                  </a:cubicBezTo>
                  <a:cubicBezTo>
                    <a:pt x="1806417" y="103918"/>
                    <a:pt x="1803274" y="100679"/>
                    <a:pt x="1799273" y="98107"/>
                  </a:cubicBezTo>
                  <a:cubicBezTo>
                    <a:pt x="1795177" y="95631"/>
                    <a:pt x="1789843" y="94393"/>
                    <a:pt x="1783176" y="94393"/>
                  </a:cubicBezTo>
                  <a:cubicBezTo>
                    <a:pt x="1775937" y="94393"/>
                    <a:pt x="1769841" y="95917"/>
                    <a:pt x="1764888" y="98965"/>
                  </a:cubicBezTo>
                  <a:cubicBezTo>
                    <a:pt x="1760030" y="102013"/>
                    <a:pt x="1756125" y="106013"/>
                    <a:pt x="1753172" y="110871"/>
                  </a:cubicBezTo>
                  <a:cubicBezTo>
                    <a:pt x="1750219" y="115729"/>
                    <a:pt x="1748219" y="121349"/>
                    <a:pt x="1746886" y="127540"/>
                  </a:cubicBezTo>
                  <a:cubicBezTo>
                    <a:pt x="1745647" y="133731"/>
                    <a:pt x="1744981" y="140113"/>
                    <a:pt x="1744981" y="146685"/>
                  </a:cubicBezTo>
                  <a:lnTo>
                    <a:pt x="1744981" y="235553"/>
                  </a:lnTo>
                  <a:lnTo>
                    <a:pt x="1713929" y="235553"/>
                  </a:lnTo>
                  <a:lnTo>
                    <a:pt x="1713929" y="109728"/>
                  </a:lnTo>
                  <a:cubicBezTo>
                    <a:pt x="1713929" y="103441"/>
                    <a:pt x="1713834" y="97155"/>
                    <a:pt x="1713643" y="90964"/>
                  </a:cubicBezTo>
                  <a:cubicBezTo>
                    <a:pt x="1713453" y="84773"/>
                    <a:pt x="1712977" y="78486"/>
                    <a:pt x="1712405" y="72199"/>
                  </a:cubicBezTo>
                  <a:lnTo>
                    <a:pt x="1741742" y="72199"/>
                  </a:lnTo>
                  <a:lnTo>
                    <a:pt x="1742695" y="100298"/>
                  </a:lnTo>
                  <a:cubicBezTo>
                    <a:pt x="1753553" y="79343"/>
                    <a:pt x="1770412" y="68961"/>
                    <a:pt x="1793272" y="68961"/>
                  </a:cubicBezTo>
                  <a:close/>
                  <a:moveTo>
                    <a:pt x="1598580" y="68961"/>
                  </a:moveTo>
                  <a:cubicBezTo>
                    <a:pt x="1610868" y="68961"/>
                    <a:pt x="1621726" y="70961"/>
                    <a:pt x="1631347" y="74962"/>
                  </a:cubicBezTo>
                  <a:cubicBezTo>
                    <a:pt x="1640872" y="78962"/>
                    <a:pt x="1648968" y="84677"/>
                    <a:pt x="1655540" y="91916"/>
                  </a:cubicBezTo>
                  <a:cubicBezTo>
                    <a:pt x="1662112" y="99250"/>
                    <a:pt x="1667065" y="108109"/>
                    <a:pt x="1670399" y="118586"/>
                  </a:cubicBezTo>
                  <a:cubicBezTo>
                    <a:pt x="1673733" y="129064"/>
                    <a:pt x="1675352" y="140589"/>
                    <a:pt x="1675352" y="153257"/>
                  </a:cubicBezTo>
                  <a:cubicBezTo>
                    <a:pt x="1675352" y="165640"/>
                    <a:pt x="1673638" y="177070"/>
                    <a:pt x="1670399" y="187547"/>
                  </a:cubicBezTo>
                  <a:cubicBezTo>
                    <a:pt x="1667065" y="198025"/>
                    <a:pt x="1662112" y="207074"/>
                    <a:pt x="1655540" y="214789"/>
                  </a:cubicBezTo>
                  <a:cubicBezTo>
                    <a:pt x="1648968" y="222504"/>
                    <a:pt x="1640872" y="228505"/>
                    <a:pt x="1631347" y="232791"/>
                  </a:cubicBezTo>
                  <a:cubicBezTo>
                    <a:pt x="1621726" y="237077"/>
                    <a:pt x="1610868" y="239173"/>
                    <a:pt x="1598580" y="239173"/>
                  </a:cubicBezTo>
                  <a:cubicBezTo>
                    <a:pt x="1585817" y="239173"/>
                    <a:pt x="1574768" y="237077"/>
                    <a:pt x="1565434" y="232886"/>
                  </a:cubicBezTo>
                  <a:cubicBezTo>
                    <a:pt x="1551051" y="226314"/>
                    <a:pt x="1540192" y="216122"/>
                    <a:pt x="1532858" y="202216"/>
                  </a:cubicBezTo>
                  <a:cubicBezTo>
                    <a:pt x="1525429" y="188309"/>
                    <a:pt x="1521809" y="171926"/>
                    <a:pt x="1521809" y="153257"/>
                  </a:cubicBezTo>
                  <a:cubicBezTo>
                    <a:pt x="1521809" y="140875"/>
                    <a:pt x="1523619" y="129445"/>
                    <a:pt x="1527238" y="119158"/>
                  </a:cubicBezTo>
                  <a:cubicBezTo>
                    <a:pt x="1530858" y="108775"/>
                    <a:pt x="1536001" y="99917"/>
                    <a:pt x="1542669" y="92488"/>
                  </a:cubicBezTo>
                  <a:cubicBezTo>
                    <a:pt x="1549336" y="85058"/>
                    <a:pt x="1557433" y="79343"/>
                    <a:pt x="1566862" y="75152"/>
                  </a:cubicBezTo>
                  <a:cubicBezTo>
                    <a:pt x="1576292" y="71057"/>
                    <a:pt x="1586865" y="68961"/>
                    <a:pt x="1598580" y="68961"/>
                  </a:cubicBezTo>
                  <a:close/>
                  <a:moveTo>
                    <a:pt x="812388" y="68961"/>
                  </a:moveTo>
                  <a:cubicBezTo>
                    <a:pt x="823247" y="68961"/>
                    <a:pt x="832867" y="71438"/>
                    <a:pt x="841249" y="76295"/>
                  </a:cubicBezTo>
                  <a:cubicBezTo>
                    <a:pt x="849631" y="81153"/>
                    <a:pt x="856393" y="88868"/>
                    <a:pt x="861347" y="99346"/>
                  </a:cubicBezTo>
                  <a:lnTo>
                    <a:pt x="861347" y="72199"/>
                  </a:lnTo>
                  <a:lnTo>
                    <a:pt x="891350" y="72199"/>
                  </a:lnTo>
                  <a:lnTo>
                    <a:pt x="891350" y="226409"/>
                  </a:lnTo>
                  <a:cubicBezTo>
                    <a:pt x="891350" y="253174"/>
                    <a:pt x="884968" y="273749"/>
                    <a:pt x="872300" y="288131"/>
                  </a:cubicBezTo>
                  <a:cubicBezTo>
                    <a:pt x="859632" y="302514"/>
                    <a:pt x="840106" y="309658"/>
                    <a:pt x="813912" y="309658"/>
                  </a:cubicBezTo>
                  <a:cubicBezTo>
                    <a:pt x="804959" y="309658"/>
                    <a:pt x="796100" y="308896"/>
                    <a:pt x="787242" y="307372"/>
                  </a:cubicBezTo>
                  <a:cubicBezTo>
                    <a:pt x="778384" y="305848"/>
                    <a:pt x="769621" y="303657"/>
                    <a:pt x="760858" y="300799"/>
                  </a:cubicBezTo>
                  <a:lnTo>
                    <a:pt x="762763" y="273082"/>
                  </a:lnTo>
                  <a:cubicBezTo>
                    <a:pt x="769621" y="276797"/>
                    <a:pt x="777050" y="279654"/>
                    <a:pt x="785051" y="281749"/>
                  </a:cubicBezTo>
                  <a:cubicBezTo>
                    <a:pt x="793052" y="283845"/>
                    <a:pt x="801149" y="284893"/>
                    <a:pt x="809245" y="284893"/>
                  </a:cubicBezTo>
                  <a:cubicBezTo>
                    <a:pt x="818198" y="284893"/>
                    <a:pt x="825913" y="283464"/>
                    <a:pt x="832295" y="280607"/>
                  </a:cubicBezTo>
                  <a:cubicBezTo>
                    <a:pt x="838772" y="277749"/>
                    <a:pt x="844011" y="273844"/>
                    <a:pt x="848202" y="268700"/>
                  </a:cubicBezTo>
                  <a:cubicBezTo>
                    <a:pt x="852393" y="263557"/>
                    <a:pt x="855346" y="257461"/>
                    <a:pt x="857251" y="250222"/>
                  </a:cubicBezTo>
                  <a:cubicBezTo>
                    <a:pt x="859156" y="243078"/>
                    <a:pt x="860013" y="235077"/>
                    <a:pt x="860013" y="226409"/>
                  </a:cubicBezTo>
                  <a:lnTo>
                    <a:pt x="860013" y="207169"/>
                  </a:lnTo>
                  <a:cubicBezTo>
                    <a:pt x="855060" y="216313"/>
                    <a:pt x="848202" y="223361"/>
                    <a:pt x="839534" y="228219"/>
                  </a:cubicBezTo>
                  <a:cubicBezTo>
                    <a:pt x="830866" y="233077"/>
                    <a:pt x="821627" y="235553"/>
                    <a:pt x="811626" y="235553"/>
                  </a:cubicBezTo>
                  <a:cubicBezTo>
                    <a:pt x="800196" y="235553"/>
                    <a:pt x="790480" y="233172"/>
                    <a:pt x="782480" y="228409"/>
                  </a:cubicBezTo>
                  <a:cubicBezTo>
                    <a:pt x="774478" y="223647"/>
                    <a:pt x="767906" y="217361"/>
                    <a:pt x="762858" y="209645"/>
                  </a:cubicBezTo>
                  <a:cubicBezTo>
                    <a:pt x="757810" y="201930"/>
                    <a:pt x="754095" y="193167"/>
                    <a:pt x="751809" y="183356"/>
                  </a:cubicBezTo>
                  <a:cubicBezTo>
                    <a:pt x="749523" y="173546"/>
                    <a:pt x="748380" y="163544"/>
                    <a:pt x="748380" y="153257"/>
                  </a:cubicBezTo>
                  <a:cubicBezTo>
                    <a:pt x="748380" y="142399"/>
                    <a:pt x="749523" y="131826"/>
                    <a:pt x="751809" y="121730"/>
                  </a:cubicBezTo>
                  <a:cubicBezTo>
                    <a:pt x="754095" y="111633"/>
                    <a:pt x="757810" y="102584"/>
                    <a:pt x="763049" y="94774"/>
                  </a:cubicBezTo>
                  <a:cubicBezTo>
                    <a:pt x="768287" y="86963"/>
                    <a:pt x="774859" y="80677"/>
                    <a:pt x="782860" y="76009"/>
                  </a:cubicBezTo>
                  <a:cubicBezTo>
                    <a:pt x="790861" y="71342"/>
                    <a:pt x="800672" y="68961"/>
                    <a:pt x="812388" y="68961"/>
                  </a:cubicBezTo>
                  <a:close/>
                  <a:moveTo>
                    <a:pt x="657701" y="68961"/>
                  </a:moveTo>
                  <a:cubicBezTo>
                    <a:pt x="667226" y="68961"/>
                    <a:pt x="675418" y="70485"/>
                    <a:pt x="682180" y="73533"/>
                  </a:cubicBezTo>
                  <a:cubicBezTo>
                    <a:pt x="688943" y="76581"/>
                    <a:pt x="694373" y="80867"/>
                    <a:pt x="698373" y="86392"/>
                  </a:cubicBezTo>
                  <a:cubicBezTo>
                    <a:pt x="702374" y="91916"/>
                    <a:pt x="705422" y="98679"/>
                    <a:pt x="707231" y="106490"/>
                  </a:cubicBezTo>
                  <a:cubicBezTo>
                    <a:pt x="709136" y="114300"/>
                    <a:pt x="709994" y="122968"/>
                    <a:pt x="709994" y="132302"/>
                  </a:cubicBezTo>
                  <a:lnTo>
                    <a:pt x="709994" y="235553"/>
                  </a:lnTo>
                  <a:lnTo>
                    <a:pt x="678466" y="235553"/>
                  </a:lnTo>
                  <a:lnTo>
                    <a:pt x="678466" y="139160"/>
                  </a:lnTo>
                  <a:cubicBezTo>
                    <a:pt x="678466" y="133540"/>
                    <a:pt x="678085" y="127921"/>
                    <a:pt x="677323" y="122491"/>
                  </a:cubicBezTo>
                  <a:cubicBezTo>
                    <a:pt x="676561" y="117062"/>
                    <a:pt x="675132" y="112300"/>
                    <a:pt x="672941" y="108109"/>
                  </a:cubicBezTo>
                  <a:cubicBezTo>
                    <a:pt x="670751" y="104013"/>
                    <a:pt x="667607" y="100679"/>
                    <a:pt x="663607" y="98107"/>
                  </a:cubicBezTo>
                  <a:cubicBezTo>
                    <a:pt x="659606" y="95536"/>
                    <a:pt x="654177" y="94393"/>
                    <a:pt x="647509" y="94393"/>
                  </a:cubicBezTo>
                  <a:cubicBezTo>
                    <a:pt x="640271" y="94393"/>
                    <a:pt x="634175" y="95917"/>
                    <a:pt x="629222" y="98965"/>
                  </a:cubicBezTo>
                  <a:cubicBezTo>
                    <a:pt x="624364" y="102013"/>
                    <a:pt x="620459" y="106013"/>
                    <a:pt x="617506" y="110871"/>
                  </a:cubicBezTo>
                  <a:cubicBezTo>
                    <a:pt x="614553" y="115729"/>
                    <a:pt x="612553" y="121349"/>
                    <a:pt x="611219" y="127540"/>
                  </a:cubicBezTo>
                  <a:cubicBezTo>
                    <a:pt x="609981" y="133731"/>
                    <a:pt x="609314" y="140113"/>
                    <a:pt x="609314" y="146685"/>
                  </a:cubicBezTo>
                  <a:lnTo>
                    <a:pt x="609314" y="235553"/>
                  </a:lnTo>
                  <a:lnTo>
                    <a:pt x="578358" y="235553"/>
                  </a:lnTo>
                  <a:lnTo>
                    <a:pt x="578358" y="109728"/>
                  </a:lnTo>
                  <a:cubicBezTo>
                    <a:pt x="578358" y="103441"/>
                    <a:pt x="578263" y="97155"/>
                    <a:pt x="578072" y="90964"/>
                  </a:cubicBezTo>
                  <a:cubicBezTo>
                    <a:pt x="577882" y="84773"/>
                    <a:pt x="577405" y="78486"/>
                    <a:pt x="576834" y="72199"/>
                  </a:cubicBezTo>
                  <a:lnTo>
                    <a:pt x="606171" y="72199"/>
                  </a:lnTo>
                  <a:lnTo>
                    <a:pt x="607124" y="100298"/>
                  </a:lnTo>
                  <a:cubicBezTo>
                    <a:pt x="617982" y="79343"/>
                    <a:pt x="634841" y="68961"/>
                    <a:pt x="657701" y="68961"/>
                  </a:cubicBezTo>
                  <a:close/>
                  <a:moveTo>
                    <a:pt x="1282637" y="68866"/>
                  </a:moveTo>
                  <a:cubicBezTo>
                    <a:pt x="1294924" y="68866"/>
                    <a:pt x="1305211" y="70962"/>
                    <a:pt x="1313498" y="75248"/>
                  </a:cubicBezTo>
                  <a:cubicBezTo>
                    <a:pt x="1321784" y="79534"/>
                    <a:pt x="1328547" y="85344"/>
                    <a:pt x="1333595" y="92679"/>
                  </a:cubicBezTo>
                  <a:cubicBezTo>
                    <a:pt x="1338644" y="100108"/>
                    <a:pt x="1342358" y="108776"/>
                    <a:pt x="1344549" y="118777"/>
                  </a:cubicBezTo>
                  <a:cubicBezTo>
                    <a:pt x="1346740" y="128778"/>
                    <a:pt x="1347787" y="139542"/>
                    <a:pt x="1347787" y="151162"/>
                  </a:cubicBezTo>
                  <a:lnTo>
                    <a:pt x="1347787" y="160973"/>
                  </a:lnTo>
                  <a:lnTo>
                    <a:pt x="1243203" y="160973"/>
                  </a:lnTo>
                  <a:lnTo>
                    <a:pt x="1243203" y="161068"/>
                  </a:lnTo>
                  <a:cubicBezTo>
                    <a:pt x="1243203" y="168688"/>
                    <a:pt x="1244251" y="175832"/>
                    <a:pt x="1246441" y="182499"/>
                  </a:cubicBezTo>
                  <a:cubicBezTo>
                    <a:pt x="1248632" y="189167"/>
                    <a:pt x="1251871" y="194977"/>
                    <a:pt x="1256252" y="200025"/>
                  </a:cubicBezTo>
                  <a:cubicBezTo>
                    <a:pt x="1260634" y="205074"/>
                    <a:pt x="1266063" y="208979"/>
                    <a:pt x="1272635" y="211932"/>
                  </a:cubicBezTo>
                  <a:cubicBezTo>
                    <a:pt x="1279207" y="214884"/>
                    <a:pt x="1286732" y="216313"/>
                    <a:pt x="1295305" y="216313"/>
                  </a:cubicBezTo>
                  <a:cubicBezTo>
                    <a:pt x="1302353" y="216313"/>
                    <a:pt x="1309592" y="215456"/>
                    <a:pt x="1317022" y="213837"/>
                  </a:cubicBezTo>
                  <a:cubicBezTo>
                    <a:pt x="1324451" y="212217"/>
                    <a:pt x="1331214" y="209645"/>
                    <a:pt x="1337501" y="206121"/>
                  </a:cubicBezTo>
                  <a:lnTo>
                    <a:pt x="1339406" y="230315"/>
                  </a:lnTo>
                  <a:cubicBezTo>
                    <a:pt x="1332166" y="233363"/>
                    <a:pt x="1324451" y="235554"/>
                    <a:pt x="1316355" y="236982"/>
                  </a:cubicBezTo>
                  <a:cubicBezTo>
                    <a:pt x="1308259" y="238411"/>
                    <a:pt x="1299782" y="239078"/>
                    <a:pt x="1291114" y="239078"/>
                  </a:cubicBezTo>
                  <a:cubicBezTo>
                    <a:pt x="1277969" y="239078"/>
                    <a:pt x="1266444" y="236982"/>
                    <a:pt x="1256443" y="232887"/>
                  </a:cubicBezTo>
                  <a:cubicBezTo>
                    <a:pt x="1246441" y="228791"/>
                    <a:pt x="1238060" y="222885"/>
                    <a:pt x="1231297" y="215266"/>
                  </a:cubicBezTo>
                  <a:cubicBezTo>
                    <a:pt x="1224534" y="207645"/>
                    <a:pt x="1219486" y="198597"/>
                    <a:pt x="1216152" y="188119"/>
                  </a:cubicBezTo>
                  <a:cubicBezTo>
                    <a:pt x="1212818" y="177642"/>
                    <a:pt x="1211199" y="166021"/>
                    <a:pt x="1211199" y="153162"/>
                  </a:cubicBezTo>
                  <a:cubicBezTo>
                    <a:pt x="1211199" y="142018"/>
                    <a:pt x="1212818" y="131350"/>
                    <a:pt x="1216057" y="121158"/>
                  </a:cubicBezTo>
                  <a:cubicBezTo>
                    <a:pt x="1219295" y="110967"/>
                    <a:pt x="1223962" y="101918"/>
                    <a:pt x="1230058" y="94203"/>
                  </a:cubicBezTo>
                  <a:cubicBezTo>
                    <a:pt x="1236154" y="86487"/>
                    <a:pt x="1243679" y="80296"/>
                    <a:pt x="1252537" y="75724"/>
                  </a:cubicBezTo>
                  <a:cubicBezTo>
                    <a:pt x="1261396" y="71152"/>
                    <a:pt x="1271397" y="68866"/>
                    <a:pt x="1282637" y="68866"/>
                  </a:cubicBezTo>
                  <a:close/>
                  <a:moveTo>
                    <a:pt x="396336" y="68866"/>
                  </a:moveTo>
                  <a:cubicBezTo>
                    <a:pt x="408623" y="68866"/>
                    <a:pt x="418910" y="70962"/>
                    <a:pt x="427196" y="75248"/>
                  </a:cubicBezTo>
                  <a:cubicBezTo>
                    <a:pt x="435483" y="79534"/>
                    <a:pt x="442246" y="85344"/>
                    <a:pt x="447294" y="92679"/>
                  </a:cubicBezTo>
                  <a:cubicBezTo>
                    <a:pt x="452342" y="100108"/>
                    <a:pt x="456057" y="108776"/>
                    <a:pt x="458248" y="118777"/>
                  </a:cubicBezTo>
                  <a:cubicBezTo>
                    <a:pt x="460439" y="128778"/>
                    <a:pt x="461486" y="139542"/>
                    <a:pt x="461486" y="151162"/>
                  </a:cubicBezTo>
                  <a:lnTo>
                    <a:pt x="461486" y="160973"/>
                  </a:lnTo>
                  <a:lnTo>
                    <a:pt x="356902" y="160973"/>
                  </a:lnTo>
                  <a:lnTo>
                    <a:pt x="356902" y="161068"/>
                  </a:lnTo>
                  <a:cubicBezTo>
                    <a:pt x="356902" y="168688"/>
                    <a:pt x="357950" y="175832"/>
                    <a:pt x="360140" y="182499"/>
                  </a:cubicBezTo>
                  <a:cubicBezTo>
                    <a:pt x="362331" y="189167"/>
                    <a:pt x="365570" y="194977"/>
                    <a:pt x="369951" y="200025"/>
                  </a:cubicBezTo>
                  <a:cubicBezTo>
                    <a:pt x="374333" y="205074"/>
                    <a:pt x="379762" y="208979"/>
                    <a:pt x="386334" y="211932"/>
                  </a:cubicBezTo>
                  <a:cubicBezTo>
                    <a:pt x="392906" y="214884"/>
                    <a:pt x="400431" y="216313"/>
                    <a:pt x="409004" y="216313"/>
                  </a:cubicBezTo>
                  <a:cubicBezTo>
                    <a:pt x="416052" y="216313"/>
                    <a:pt x="423291" y="215456"/>
                    <a:pt x="430721" y="213837"/>
                  </a:cubicBezTo>
                  <a:cubicBezTo>
                    <a:pt x="438150" y="212217"/>
                    <a:pt x="444913" y="209645"/>
                    <a:pt x="451199" y="206121"/>
                  </a:cubicBezTo>
                  <a:lnTo>
                    <a:pt x="453104" y="230315"/>
                  </a:lnTo>
                  <a:cubicBezTo>
                    <a:pt x="445865" y="233363"/>
                    <a:pt x="438150" y="235554"/>
                    <a:pt x="430054" y="236982"/>
                  </a:cubicBezTo>
                  <a:cubicBezTo>
                    <a:pt x="421958" y="238411"/>
                    <a:pt x="413480" y="239078"/>
                    <a:pt x="404813" y="239078"/>
                  </a:cubicBezTo>
                  <a:cubicBezTo>
                    <a:pt x="391668" y="239078"/>
                    <a:pt x="380143" y="236982"/>
                    <a:pt x="370142" y="232887"/>
                  </a:cubicBezTo>
                  <a:cubicBezTo>
                    <a:pt x="360140" y="228791"/>
                    <a:pt x="351758" y="222885"/>
                    <a:pt x="344996" y="215266"/>
                  </a:cubicBezTo>
                  <a:cubicBezTo>
                    <a:pt x="338233" y="207645"/>
                    <a:pt x="333185" y="198597"/>
                    <a:pt x="329851" y="188119"/>
                  </a:cubicBezTo>
                  <a:cubicBezTo>
                    <a:pt x="326517" y="177642"/>
                    <a:pt x="324898" y="166021"/>
                    <a:pt x="324898" y="153162"/>
                  </a:cubicBezTo>
                  <a:cubicBezTo>
                    <a:pt x="324898" y="142018"/>
                    <a:pt x="326517" y="131350"/>
                    <a:pt x="329756" y="121158"/>
                  </a:cubicBezTo>
                  <a:cubicBezTo>
                    <a:pt x="332994" y="110967"/>
                    <a:pt x="337661" y="101918"/>
                    <a:pt x="343757" y="94203"/>
                  </a:cubicBezTo>
                  <a:cubicBezTo>
                    <a:pt x="349853" y="86487"/>
                    <a:pt x="357378" y="80296"/>
                    <a:pt x="366236" y="75724"/>
                  </a:cubicBezTo>
                  <a:cubicBezTo>
                    <a:pt x="375095" y="71152"/>
                    <a:pt x="385096" y="68866"/>
                    <a:pt x="396336" y="68866"/>
                  </a:cubicBezTo>
                  <a:close/>
                  <a:moveTo>
                    <a:pt x="230220" y="68866"/>
                  </a:moveTo>
                  <a:cubicBezTo>
                    <a:pt x="242507" y="68866"/>
                    <a:pt x="252794" y="70962"/>
                    <a:pt x="261081" y="75248"/>
                  </a:cubicBezTo>
                  <a:cubicBezTo>
                    <a:pt x="269367" y="79534"/>
                    <a:pt x="276130" y="85344"/>
                    <a:pt x="281178" y="92679"/>
                  </a:cubicBezTo>
                  <a:cubicBezTo>
                    <a:pt x="286226" y="100013"/>
                    <a:pt x="289941" y="108776"/>
                    <a:pt x="292132" y="118777"/>
                  </a:cubicBezTo>
                  <a:cubicBezTo>
                    <a:pt x="294323" y="128778"/>
                    <a:pt x="295371" y="139542"/>
                    <a:pt x="295371" y="151162"/>
                  </a:cubicBezTo>
                  <a:lnTo>
                    <a:pt x="295371" y="160973"/>
                  </a:lnTo>
                  <a:lnTo>
                    <a:pt x="190786" y="160973"/>
                  </a:lnTo>
                  <a:lnTo>
                    <a:pt x="190786" y="161068"/>
                  </a:lnTo>
                  <a:cubicBezTo>
                    <a:pt x="190786" y="168688"/>
                    <a:pt x="191929" y="175832"/>
                    <a:pt x="194025" y="182499"/>
                  </a:cubicBezTo>
                  <a:cubicBezTo>
                    <a:pt x="196215" y="189167"/>
                    <a:pt x="199454" y="194977"/>
                    <a:pt x="203835" y="200025"/>
                  </a:cubicBezTo>
                  <a:cubicBezTo>
                    <a:pt x="208217" y="205074"/>
                    <a:pt x="213646" y="208979"/>
                    <a:pt x="220218" y="211932"/>
                  </a:cubicBezTo>
                  <a:cubicBezTo>
                    <a:pt x="226790" y="214884"/>
                    <a:pt x="234315" y="216313"/>
                    <a:pt x="242888" y="216313"/>
                  </a:cubicBezTo>
                  <a:cubicBezTo>
                    <a:pt x="249936" y="216313"/>
                    <a:pt x="257175" y="215456"/>
                    <a:pt x="264605" y="213837"/>
                  </a:cubicBezTo>
                  <a:cubicBezTo>
                    <a:pt x="272034" y="212217"/>
                    <a:pt x="278797" y="209645"/>
                    <a:pt x="285084" y="206121"/>
                  </a:cubicBezTo>
                  <a:lnTo>
                    <a:pt x="286988" y="230315"/>
                  </a:lnTo>
                  <a:cubicBezTo>
                    <a:pt x="279749" y="233363"/>
                    <a:pt x="272034" y="235554"/>
                    <a:pt x="263938" y="236982"/>
                  </a:cubicBezTo>
                  <a:cubicBezTo>
                    <a:pt x="255842" y="238411"/>
                    <a:pt x="247364" y="239078"/>
                    <a:pt x="238697" y="239078"/>
                  </a:cubicBezTo>
                  <a:cubicBezTo>
                    <a:pt x="225552" y="239078"/>
                    <a:pt x="214027" y="236982"/>
                    <a:pt x="204026" y="232887"/>
                  </a:cubicBezTo>
                  <a:cubicBezTo>
                    <a:pt x="194025" y="228791"/>
                    <a:pt x="185642" y="222885"/>
                    <a:pt x="178880" y="215266"/>
                  </a:cubicBezTo>
                  <a:cubicBezTo>
                    <a:pt x="172117" y="207645"/>
                    <a:pt x="167069" y="198597"/>
                    <a:pt x="163735" y="188119"/>
                  </a:cubicBezTo>
                  <a:cubicBezTo>
                    <a:pt x="160401" y="177642"/>
                    <a:pt x="158782" y="166021"/>
                    <a:pt x="158782" y="153162"/>
                  </a:cubicBezTo>
                  <a:cubicBezTo>
                    <a:pt x="158782" y="142018"/>
                    <a:pt x="160401" y="131350"/>
                    <a:pt x="163640" y="121158"/>
                  </a:cubicBezTo>
                  <a:cubicBezTo>
                    <a:pt x="166878" y="110967"/>
                    <a:pt x="171546" y="101918"/>
                    <a:pt x="177641" y="94203"/>
                  </a:cubicBezTo>
                  <a:cubicBezTo>
                    <a:pt x="183737" y="86487"/>
                    <a:pt x="191262" y="80296"/>
                    <a:pt x="200121" y="75724"/>
                  </a:cubicBezTo>
                  <a:cubicBezTo>
                    <a:pt x="208979" y="71152"/>
                    <a:pt x="218980" y="68866"/>
                    <a:pt x="230220" y="68866"/>
                  </a:cubicBezTo>
                  <a:close/>
                  <a:moveTo>
                    <a:pt x="70866" y="14288"/>
                  </a:moveTo>
                  <a:cubicBezTo>
                    <a:pt x="87916" y="14288"/>
                    <a:pt x="103632" y="16574"/>
                    <a:pt x="118015" y="21146"/>
                  </a:cubicBezTo>
                  <a:lnTo>
                    <a:pt x="116110" y="49911"/>
                  </a:lnTo>
                  <a:cubicBezTo>
                    <a:pt x="109442" y="46863"/>
                    <a:pt x="102298" y="44673"/>
                    <a:pt x="94774" y="43244"/>
                  </a:cubicBezTo>
                  <a:cubicBezTo>
                    <a:pt x="87154" y="41815"/>
                    <a:pt x="79819" y="41149"/>
                    <a:pt x="72771" y="41149"/>
                  </a:cubicBezTo>
                  <a:cubicBezTo>
                    <a:pt x="68390" y="41149"/>
                    <a:pt x="64008" y="41720"/>
                    <a:pt x="59531" y="42768"/>
                  </a:cubicBezTo>
                  <a:cubicBezTo>
                    <a:pt x="55054" y="43911"/>
                    <a:pt x="51054" y="45625"/>
                    <a:pt x="47530" y="48197"/>
                  </a:cubicBezTo>
                  <a:cubicBezTo>
                    <a:pt x="44005" y="50674"/>
                    <a:pt x="41053" y="54007"/>
                    <a:pt x="38767" y="58008"/>
                  </a:cubicBezTo>
                  <a:cubicBezTo>
                    <a:pt x="36481" y="62008"/>
                    <a:pt x="35338" y="67152"/>
                    <a:pt x="35338" y="73152"/>
                  </a:cubicBezTo>
                  <a:cubicBezTo>
                    <a:pt x="35338" y="77725"/>
                    <a:pt x="36100" y="81630"/>
                    <a:pt x="37719" y="84868"/>
                  </a:cubicBezTo>
                  <a:cubicBezTo>
                    <a:pt x="39243" y="88107"/>
                    <a:pt x="41434" y="91059"/>
                    <a:pt x="44101" y="93726"/>
                  </a:cubicBezTo>
                  <a:cubicBezTo>
                    <a:pt x="46768" y="96393"/>
                    <a:pt x="49911" y="98679"/>
                    <a:pt x="53435" y="100775"/>
                  </a:cubicBezTo>
                  <a:cubicBezTo>
                    <a:pt x="56959" y="102870"/>
                    <a:pt x="60579" y="104871"/>
                    <a:pt x="64389" y="106776"/>
                  </a:cubicBezTo>
                  <a:lnTo>
                    <a:pt x="81534" y="114967"/>
                  </a:lnTo>
                  <a:cubicBezTo>
                    <a:pt x="87820" y="118015"/>
                    <a:pt x="93536" y="121254"/>
                    <a:pt x="98869" y="124587"/>
                  </a:cubicBezTo>
                  <a:cubicBezTo>
                    <a:pt x="104203" y="127921"/>
                    <a:pt x="108775" y="131922"/>
                    <a:pt x="112776" y="136494"/>
                  </a:cubicBezTo>
                  <a:cubicBezTo>
                    <a:pt x="116776" y="141066"/>
                    <a:pt x="119824" y="146400"/>
                    <a:pt x="122111" y="152496"/>
                  </a:cubicBezTo>
                  <a:cubicBezTo>
                    <a:pt x="124396" y="158592"/>
                    <a:pt x="125540" y="165926"/>
                    <a:pt x="125540" y="174403"/>
                  </a:cubicBezTo>
                  <a:cubicBezTo>
                    <a:pt x="125540" y="185547"/>
                    <a:pt x="123634" y="195168"/>
                    <a:pt x="119920" y="203359"/>
                  </a:cubicBezTo>
                  <a:cubicBezTo>
                    <a:pt x="116205" y="211551"/>
                    <a:pt x="111062" y="218218"/>
                    <a:pt x="104489" y="223457"/>
                  </a:cubicBezTo>
                  <a:cubicBezTo>
                    <a:pt x="97917" y="228696"/>
                    <a:pt x="90297" y="232601"/>
                    <a:pt x="81534" y="235268"/>
                  </a:cubicBezTo>
                  <a:cubicBezTo>
                    <a:pt x="72771" y="237840"/>
                    <a:pt x="63437" y="239173"/>
                    <a:pt x="53435" y="239173"/>
                  </a:cubicBezTo>
                  <a:cubicBezTo>
                    <a:pt x="45339" y="239173"/>
                    <a:pt x="36671" y="238507"/>
                    <a:pt x="27337" y="237078"/>
                  </a:cubicBezTo>
                  <a:cubicBezTo>
                    <a:pt x="18097" y="235649"/>
                    <a:pt x="8953" y="233458"/>
                    <a:pt x="0" y="230410"/>
                  </a:cubicBezTo>
                  <a:lnTo>
                    <a:pt x="1524" y="199930"/>
                  </a:lnTo>
                  <a:cubicBezTo>
                    <a:pt x="9620" y="204312"/>
                    <a:pt x="17716" y="207455"/>
                    <a:pt x="25717" y="209360"/>
                  </a:cubicBezTo>
                  <a:cubicBezTo>
                    <a:pt x="33718" y="211360"/>
                    <a:pt x="42386" y="212313"/>
                    <a:pt x="51816" y="212313"/>
                  </a:cubicBezTo>
                  <a:cubicBezTo>
                    <a:pt x="56769" y="212313"/>
                    <a:pt x="61722" y="211646"/>
                    <a:pt x="66484" y="210312"/>
                  </a:cubicBezTo>
                  <a:cubicBezTo>
                    <a:pt x="71247" y="208979"/>
                    <a:pt x="75533" y="206979"/>
                    <a:pt x="79248" y="204121"/>
                  </a:cubicBezTo>
                  <a:cubicBezTo>
                    <a:pt x="82963" y="201264"/>
                    <a:pt x="86011" y="197549"/>
                    <a:pt x="88297" y="192977"/>
                  </a:cubicBezTo>
                  <a:cubicBezTo>
                    <a:pt x="90583" y="188405"/>
                    <a:pt x="91726" y="182880"/>
                    <a:pt x="91726" y="176308"/>
                  </a:cubicBezTo>
                  <a:cubicBezTo>
                    <a:pt x="91726" y="171069"/>
                    <a:pt x="90773" y="166593"/>
                    <a:pt x="88773" y="162783"/>
                  </a:cubicBezTo>
                  <a:cubicBezTo>
                    <a:pt x="86773" y="158973"/>
                    <a:pt x="84201" y="155544"/>
                    <a:pt x="80963" y="152496"/>
                  </a:cubicBezTo>
                  <a:cubicBezTo>
                    <a:pt x="77724" y="149448"/>
                    <a:pt x="73914" y="146685"/>
                    <a:pt x="69532" y="144304"/>
                  </a:cubicBezTo>
                  <a:cubicBezTo>
                    <a:pt x="65151" y="141923"/>
                    <a:pt x="60579" y="139542"/>
                    <a:pt x="55816" y="137160"/>
                  </a:cubicBezTo>
                  <a:lnTo>
                    <a:pt x="39624" y="128969"/>
                  </a:lnTo>
                  <a:cubicBezTo>
                    <a:pt x="34671" y="126397"/>
                    <a:pt x="29813" y="123444"/>
                    <a:pt x="25241" y="120301"/>
                  </a:cubicBezTo>
                  <a:cubicBezTo>
                    <a:pt x="20669" y="117158"/>
                    <a:pt x="16669" y="113443"/>
                    <a:pt x="13335" y="109157"/>
                  </a:cubicBezTo>
                  <a:cubicBezTo>
                    <a:pt x="10001" y="104871"/>
                    <a:pt x="7334" y="100013"/>
                    <a:pt x="5429" y="94488"/>
                  </a:cubicBezTo>
                  <a:cubicBezTo>
                    <a:pt x="3429" y="88964"/>
                    <a:pt x="2476" y="82487"/>
                    <a:pt x="2476" y="75058"/>
                  </a:cubicBezTo>
                  <a:cubicBezTo>
                    <a:pt x="2476" y="64389"/>
                    <a:pt x="4477" y="55150"/>
                    <a:pt x="8572" y="47435"/>
                  </a:cubicBezTo>
                  <a:cubicBezTo>
                    <a:pt x="12668" y="39720"/>
                    <a:pt x="17907" y="33338"/>
                    <a:pt x="24479" y="28480"/>
                  </a:cubicBezTo>
                  <a:cubicBezTo>
                    <a:pt x="31051" y="23622"/>
                    <a:pt x="38386" y="20003"/>
                    <a:pt x="46482" y="17717"/>
                  </a:cubicBezTo>
                  <a:cubicBezTo>
                    <a:pt x="54578" y="15431"/>
                    <a:pt x="62674" y="14288"/>
                    <a:pt x="70866" y="14288"/>
                  </a:cubicBezTo>
                  <a:close/>
                  <a:moveTo>
                    <a:pt x="499872" y="6858"/>
                  </a:moveTo>
                  <a:lnTo>
                    <a:pt x="531114" y="6858"/>
                  </a:lnTo>
                  <a:lnTo>
                    <a:pt x="531114" y="38576"/>
                  </a:lnTo>
                  <a:lnTo>
                    <a:pt x="499872" y="38576"/>
                  </a:lnTo>
                  <a:close/>
                  <a:moveTo>
                    <a:pt x="1996155" y="0"/>
                  </a:moveTo>
                  <a:lnTo>
                    <a:pt x="2027397" y="0"/>
                  </a:lnTo>
                  <a:lnTo>
                    <a:pt x="2027397" y="186595"/>
                  </a:lnTo>
                  <a:cubicBezTo>
                    <a:pt x="2027397" y="195739"/>
                    <a:pt x="2027587" y="204311"/>
                    <a:pt x="2027873" y="212217"/>
                  </a:cubicBezTo>
                  <a:cubicBezTo>
                    <a:pt x="2028159" y="220123"/>
                    <a:pt x="2028540" y="227933"/>
                    <a:pt x="2028921" y="235553"/>
                  </a:cubicBezTo>
                  <a:lnTo>
                    <a:pt x="1999964" y="235553"/>
                  </a:lnTo>
                  <a:lnTo>
                    <a:pt x="1998060" y="208407"/>
                  </a:lnTo>
                  <a:cubicBezTo>
                    <a:pt x="1993297" y="218884"/>
                    <a:pt x="1986630" y="226600"/>
                    <a:pt x="1978057" y="231648"/>
                  </a:cubicBezTo>
                  <a:cubicBezTo>
                    <a:pt x="1969485" y="236696"/>
                    <a:pt x="1959864" y="239173"/>
                    <a:pt x="1949006" y="239173"/>
                  </a:cubicBezTo>
                  <a:cubicBezTo>
                    <a:pt x="1937100" y="239173"/>
                    <a:pt x="1927194" y="236696"/>
                    <a:pt x="1919002" y="231838"/>
                  </a:cubicBezTo>
                  <a:cubicBezTo>
                    <a:pt x="1910906" y="226981"/>
                    <a:pt x="1904238" y="220504"/>
                    <a:pt x="1899000" y="212407"/>
                  </a:cubicBezTo>
                  <a:cubicBezTo>
                    <a:pt x="1893761" y="204311"/>
                    <a:pt x="1890046" y="195167"/>
                    <a:pt x="1887760" y="184975"/>
                  </a:cubicBezTo>
                  <a:cubicBezTo>
                    <a:pt x="1885474" y="174784"/>
                    <a:pt x="1884331" y="164211"/>
                    <a:pt x="1884331" y="153257"/>
                  </a:cubicBezTo>
                  <a:cubicBezTo>
                    <a:pt x="1884331" y="142304"/>
                    <a:pt x="1885474" y="131826"/>
                    <a:pt x="1887760" y="121729"/>
                  </a:cubicBezTo>
                  <a:cubicBezTo>
                    <a:pt x="1890046" y="111633"/>
                    <a:pt x="1893761" y="102584"/>
                    <a:pt x="1899000" y="94774"/>
                  </a:cubicBezTo>
                  <a:cubicBezTo>
                    <a:pt x="1904238" y="86963"/>
                    <a:pt x="1910906" y="80677"/>
                    <a:pt x="1919002" y="76009"/>
                  </a:cubicBezTo>
                  <a:cubicBezTo>
                    <a:pt x="1927098" y="71342"/>
                    <a:pt x="1937100" y="68961"/>
                    <a:pt x="1949006" y="68961"/>
                  </a:cubicBezTo>
                  <a:cubicBezTo>
                    <a:pt x="1959007" y="68961"/>
                    <a:pt x="1968342" y="71533"/>
                    <a:pt x="1977105" y="76771"/>
                  </a:cubicBezTo>
                  <a:cubicBezTo>
                    <a:pt x="1985868" y="82010"/>
                    <a:pt x="1992154" y="89535"/>
                    <a:pt x="1996155" y="99346"/>
                  </a:cubicBezTo>
                  <a:close/>
                  <a:moveTo>
                    <a:pt x="1037368" y="0"/>
                  </a:moveTo>
                  <a:lnTo>
                    <a:pt x="1068610" y="0"/>
                  </a:lnTo>
                  <a:lnTo>
                    <a:pt x="1068610" y="99346"/>
                  </a:lnTo>
                  <a:cubicBezTo>
                    <a:pt x="1072515" y="89535"/>
                    <a:pt x="1078992" y="82010"/>
                    <a:pt x="1087946" y="76771"/>
                  </a:cubicBezTo>
                  <a:cubicBezTo>
                    <a:pt x="1096899" y="71533"/>
                    <a:pt x="1106329" y="68961"/>
                    <a:pt x="1116330" y="68961"/>
                  </a:cubicBezTo>
                  <a:cubicBezTo>
                    <a:pt x="1128237" y="68961"/>
                    <a:pt x="1138143" y="71342"/>
                    <a:pt x="1146334" y="76009"/>
                  </a:cubicBezTo>
                  <a:cubicBezTo>
                    <a:pt x="1154430" y="80677"/>
                    <a:pt x="1161002" y="86963"/>
                    <a:pt x="1166146" y="94774"/>
                  </a:cubicBezTo>
                  <a:cubicBezTo>
                    <a:pt x="1171289" y="102584"/>
                    <a:pt x="1174909" y="111633"/>
                    <a:pt x="1177100" y="121729"/>
                  </a:cubicBezTo>
                  <a:cubicBezTo>
                    <a:pt x="1179291" y="131826"/>
                    <a:pt x="1180338" y="142399"/>
                    <a:pt x="1180338" y="153257"/>
                  </a:cubicBezTo>
                  <a:cubicBezTo>
                    <a:pt x="1180338" y="164116"/>
                    <a:pt x="1179195" y="174688"/>
                    <a:pt x="1176909" y="184975"/>
                  </a:cubicBezTo>
                  <a:cubicBezTo>
                    <a:pt x="1174623" y="195263"/>
                    <a:pt x="1170909" y="204406"/>
                    <a:pt x="1165670" y="212407"/>
                  </a:cubicBezTo>
                  <a:cubicBezTo>
                    <a:pt x="1160431" y="220504"/>
                    <a:pt x="1153764" y="226981"/>
                    <a:pt x="1145667" y="231838"/>
                  </a:cubicBezTo>
                  <a:cubicBezTo>
                    <a:pt x="1137571" y="236696"/>
                    <a:pt x="1127570" y="239173"/>
                    <a:pt x="1115664" y="239173"/>
                  </a:cubicBezTo>
                  <a:cubicBezTo>
                    <a:pt x="1104805" y="239173"/>
                    <a:pt x="1095185" y="236696"/>
                    <a:pt x="1086803" y="231648"/>
                  </a:cubicBezTo>
                  <a:cubicBezTo>
                    <a:pt x="1078421" y="226600"/>
                    <a:pt x="1071658" y="218884"/>
                    <a:pt x="1066705" y="208407"/>
                  </a:cubicBezTo>
                  <a:lnTo>
                    <a:pt x="1066038" y="235553"/>
                  </a:lnTo>
                  <a:lnTo>
                    <a:pt x="1037368" y="235553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7" name="Gruppieren 6">
              <a:extLst>
                <a:ext uri="{FF2B5EF4-FFF2-40B4-BE49-F238E27FC236}">
                  <a16:creationId xmlns:a16="http://schemas.microsoft.com/office/drawing/2014/main" id="{98359F88-DED8-EF0C-9C3C-B65F1C2DFE4B}"/>
                </a:ext>
              </a:extLst>
            </p:cNvPr>
            <p:cNvGrpSpPr/>
            <p:nvPr/>
          </p:nvGrpSpPr>
          <p:grpSpPr>
            <a:xfrm>
              <a:off x="5384017" y="2271830"/>
              <a:ext cx="1425574" cy="1425574"/>
              <a:chOff x="5423248" y="2756248"/>
              <a:chExt cx="1349978" cy="1349978"/>
            </a:xfrm>
          </p:grpSpPr>
          <p:sp>
            <p:nvSpPr>
              <p:cNvPr id="8" name="Freihandform: Form 7">
                <a:extLst>
                  <a:ext uri="{FF2B5EF4-FFF2-40B4-BE49-F238E27FC236}">
                    <a16:creationId xmlns:a16="http://schemas.microsoft.com/office/drawing/2014/main" id="{657A1B0C-99E2-B43A-E78C-234C324BC44F}"/>
                  </a:ext>
                </a:extLst>
              </p:cNvPr>
              <p:cNvSpPr/>
              <p:nvPr/>
            </p:nvSpPr>
            <p:spPr>
              <a:xfrm>
                <a:off x="5423248" y="2756248"/>
                <a:ext cx="1349978" cy="1349978"/>
              </a:xfrm>
              <a:custGeom>
                <a:avLst/>
                <a:gdLst>
                  <a:gd name="connsiteX0" fmla="*/ 1349788 w 1349978"/>
                  <a:gd name="connsiteY0" fmla="*/ 1349978 h 1349978"/>
                  <a:gd name="connsiteX1" fmla="*/ 675037 w 1349978"/>
                  <a:gd name="connsiteY1" fmla="*/ 1205389 h 1349978"/>
                  <a:gd name="connsiteX2" fmla="*/ 0 w 1349978"/>
                  <a:gd name="connsiteY2" fmla="*/ 1349978 h 1349978"/>
                  <a:gd name="connsiteX3" fmla="*/ 0 w 1349978"/>
                  <a:gd name="connsiteY3" fmla="*/ 0 h 1349978"/>
                  <a:gd name="connsiteX4" fmla="*/ 1349978 w 1349978"/>
                  <a:gd name="connsiteY4" fmla="*/ 0 h 1349978"/>
                  <a:gd name="connsiteX5" fmla="*/ 1349788 w 1349978"/>
                  <a:gd name="connsiteY5" fmla="*/ 1349978 h 13499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49978" h="1349978">
                    <a:moveTo>
                      <a:pt x="1349788" y="1349978"/>
                    </a:moveTo>
                    <a:cubicBezTo>
                      <a:pt x="1143953" y="1257110"/>
                      <a:pt x="915543" y="1205389"/>
                      <a:pt x="675037" y="1205389"/>
                    </a:cubicBezTo>
                    <a:cubicBezTo>
                      <a:pt x="434530" y="1205389"/>
                      <a:pt x="205835" y="1257110"/>
                      <a:pt x="0" y="1349978"/>
                    </a:cubicBezTo>
                    <a:lnTo>
                      <a:pt x="0" y="0"/>
                    </a:lnTo>
                    <a:lnTo>
                      <a:pt x="1349978" y="0"/>
                    </a:lnTo>
                    <a:lnTo>
                      <a:pt x="1349788" y="1349978"/>
                    </a:lnTo>
                    <a:close/>
                  </a:path>
                </a:pathLst>
              </a:custGeom>
              <a:solidFill>
                <a:srgbClr val="0F2DB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9" name="Grafik 31">
                <a:extLst>
                  <a:ext uri="{FF2B5EF4-FFF2-40B4-BE49-F238E27FC236}">
                    <a16:creationId xmlns:a16="http://schemas.microsoft.com/office/drawing/2014/main" id="{FDA03271-0966-9E11-B7AB-6E521735A151}"/>
                  </a:ext>
                </a:extLst>
              </p:cNvPr>
              <p:cNvGrpSpPr/>
              <p:nvPr/>
            </p:nvGrpSpPr>
            <p:grpSpPr>
              <a:xfrm>
                <a:off x="5474985" y="3134295"/>
                <a:ext cx="1244293" cy="294132"/>
                <a:chOff x="5474985" y="3134295"/>
                <a:chExt cx="1244293" cy="294132"/>
              </a:xfrm>
              <a:solidFill>
                <a:srgbClr val="FFFFFF"/>
              </a:solidFill>
            </p:grpSpPr>
            <p:sp>
              <p:nvSpPr>
                <p:cNvPr id="10" name="Freihandform: Form 9">
                  <a:extLst>
                    <a:ext uri="{FF2B5EF4-FFF2-40B4-BE49-F238E27FC236}">
                      <a16:creationId xmlns:a16="http://schemas.microsoft.com/office/drawing/2014/main" id="{993CA501-AAA6-3AAA-1EAC-67E17BFED279}"/>
                    </a:ext>
                  </a:extLst>
                </p:cNvPr>
                <p:cNvSpPr/>
                <p:nvPr/>
              </p:nvSpPr>
              <p:spPr>
                <a:xfrm>
                  <a:off x="5474985" y="3134295"/>
                  <a:ext cx="247353" cy="293941"/>
                </a:xfrm>
                <a:custGeom>
                  <a:avLst/>
                  <a:gdLst>
                    <a:gd name="connsiteX0" fmla="*/ 109998 w 247353"/>
                    <a:gd name="connsiteY0" fmla="*/ 30956 h 293941"/>
                    <a:gd name="connsiteX1" fmla="*/ 41418 w 247353"/>
                    <a:gd name="connsiteY1" fmla="*/ 95250 h 293941"/>
                    <a:gd name="connsiteX2" fmla="*/ 11129 w 247353"/>
                    <a:gd name="connsiteY2" fmla="*/ 95250 h 293941"/>
                    <a:gd name="connsiteX3" fmla="*/ 11129 w 247353"/>
                    <a:gd name="connsiteY3" fmla="*/ 0 h 293941"/>
                    <a:gd name="connsiteX4" fmla="*/ 247349 w 247353"/>
                    <a:gd name="connsiteY4" fmla="*/ 0 h 293941"/>
                    <a:gd name="connsiteX5" fmla="*/ 179340 w 247353"/>
                    <a:gd name="connsiteY5" fmla="*/ 151733 h 293941"/>
                    <a:gd name="connsiteX6" fmla="*/ 111141 w 247353"/>
                    <a:gd name="connsiteY6" fmla="*/ 262795 h 293941"/>
                    <a:gd name="connsiteX7" fmla="*/ 149432 w 247353"/>
                    <a:gd name="connsiteY7" fmla="*/ 262795 h 293941"/>
                    <a:gd name="connsiteX8" fmla="*/ 210011 w 247353"/>
                    <a:gd name="connsiteY8" fmla="*/ 198501 h 293941"/>
                    <a:gd name="connsiteX9" fmla="*/ 241634 w 247353"/>
                    <a:gd name="connsiteY9" fmla="*/ 198501 h 293941"/>
                    <a:gd name="connsiteX10" fmla="*/ 241634 w 247353"/>
                    <a:gd name="connsiteY10" fmla="*/ 293942 h 293941"/>
                    <a:gd name="connsiteX11" fmla="*/ 270 w 247353"/>
                    <a:gd name="connsiteY11" fmla="*/ 293942 h 293941"/>
                    <a:gd name="connsiteX12" fmla="*/ 75137 w 247353"/>
                    <a:gd name="connsiteY12" fmla="*/ 133731 h 293941"/>
                    <a:gd name="connsiteX13" fmla="*/ 138573 w 247353"/>
                    <a:gd name="connsiteY13" fmla="*/ 30671 h 293941"/>
                    <a:gd name="connsiteX14" fmla="*/ 109998 w 247353"/>
                    <a:gd name="connsiteY14" fmla="*/ 30861 h 2939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247353" h="293941">
                      <a:moveTo>
                        <a:pt x="109998" y="30956"/>
                      </a:moveTo>
                      <a:cubicBezTo>
                        <a:pt x="46562" y="30956"/>
                        <a:pt x="41418" y="95250"/>
                        <a:pt x="41418" y="95250"/>
                      </a:cubicBezTo>
                      <a:lnTo>
                        <a:pt x="11129" y="95250"/>
                      </a:lnTo>
                      <a:lnTo>
                        <a:pt x="11129" y="0"/>
                      </a:lnTo>
                      <a:lnTo>
                        <a:pt x="247349" y="0"/>
                      </a:lnTo>
                      <a:cubicBezTo>
                        <a:pt x="247349" y="0"/>
                        <a:pt x="249254" y="73628"/>
                        <a:pt x="179340" y="151733"/>
                      </a:cubicBezTo>
                      <a:cubicBezTo>
                        <a:pt x="179340" y="151733"/>
                        <a:pt x="112856" y="228981"/>
                        <a:pt x="111141" y="262795"/>
                      </a:cubicBezTo>
                      <a:lnTo>
                        <a:pt x="149432" y="262795"/>
                      </a:lnTo>
                      <a:cubicBezTo>
                        <a:pt x="204391" y="262795"/>
                        <a:pt x="210011" y="198501"/>
                        <a:pt x="210011" y="198501"/>
                      </a:cubicBezTo>
                      <a:lnTo>
                        <a:pt x="241634" y="198501"/>
                      </a:lnTo>
                      <a:lnTo>
                        <a:pt x="241634" y="293942"/>
                      </a:lnTo>
                      <a:lnTo>
                        <a:pt x="270" y="293942"/>
                      </a:lnTo>
                      <a:cubicBezTo>
                        <a:pt x="270" y="293942"/>
                        <a:pt x="-8588" y="221647"/>
                        <a:pt x="75137" y="133731"/>
                      </a:cubicBezTo>
                      <a:cubicBezTo>
                        <a:pt x="75137" y="133731"/>
                        <a:pt x="126667" y="76200"/>
                        <a:pt x="138573" y="30671"/>
                      </a:cubicBezTo>
                      <a:lnTo>
                        <a:pt x="109998" y="3086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1" name="Freihandform: Form 10">
                  <a:extLst>
                    <a:ext uri="{FF2B5EF4-FFF2-40B4-BE49-F238E27FC236}">
                      <a16:creationId xmlns:a16="http://schemas.microsoft.com/office/drawing/2014/main" id="{84C6B88A-B4FB-BE5D-C987-38D974FAFCB0}"/>
                    </a:ext>
                  </a:extLst>
                </p:cNvPr>
                <p:cNvSpPr/>
                <p:nvPr/>
              </p:nvSpPr>
              <p:spPr>
                <a:xfrm>
                  <a:off x="6030181" y="3134295"/>
                  <a:ext cx="156495" cy="293750"/>
                </a:xfrm>
                <a:custGeom>
                  <a:avLst/>
                  <a:gdLst>
                    <a:gd name="connsiteX0" fmla="*/ 156496 w 156495"/>
                    <a:gd name="connsiteY0" fmla="*/ 293751 h 293750"/>
                    <a:gd name="connsiteX1" fmla="*/ 156496 w 156495"/>
                    <a:gd name="connsiteY1" fmla="*/ 262604 h 293750"/>
                    <a:gd name="connsiteX2" fmla="*/ 149352 w 156495"/>
                    <a:gd name="connsiteY2" fmla="*/ 262604 h 293750"/>
                    <a:gd name="connsiteX3" fmla="*/ 125730 w 156495"/>
                    <a:gd name="connsiteY3" fmla="*/ 238982 h 293750"/>
                    <a:gd name="connsiteX4" fmla="*/ 125730 w 156495"/>
                    <a:gd name="connsiteY4" fmla="*/ 54769 h 293750"/>
                    <a:gd name="connsiteX5" fmla="*/ 149352 w 156495"/>
                    <a:gd name="connsiteY5" fmla="*/ 31147 h 293750"/>
                    <a:gd name="connsiteX6" fmla="*/ 156496 w 156495"/>
                    <a:gd name="connsiteY6" fmla="*/ 31147 h 293750"/>
                    <a:gd name="connsiteX7" fmla="*/ 156496 w 156495"/>
                    <a:gd name="connsiteY7" fmla="*/ 0 h 293750"/>
                    <a:gd name="connsiteX8" fmla="*/ 0 w 156495"/>
                    <a:gd name="connsiteY8" fmla="*/ 0 h 293750"/>
                    <a:gd name="connsiteX9" fmla="*/ 0 w 156495"/>
                    <a:gd name="connsiteY9" fmla="*/ 31147 h 293750"/>
                    <a:gd name="connsiteX10" fmla="*/ 7144 w 156495"/>
                    <a:gd name="connsiteY10" fmla="*/ 31147 h 293750"/>
                    <a:gd name="connsiteX11" fmla="*/ 30956 w 156495"/>
                    <a:gd name="connsiteY11" fmla="*/ 54769 h 293750"/>
                    <a:gd name="connsiteX12" fmla="*/ 30956 w 156495"/>
                    <a:gd name="connsiteY12" fmla="*/ 238982 h 293750"/>
                    <a:gd name="connsiteX13" fmla="*/ 7144 w 156495"/>
                    <a:gd name="connsiteY13" fmla="*/ 262604 h 293750"/>
                    <a:gd name="connsiteX14" fmla="*/ 0 w 156495"/>
                    <a:gd name="connsiteY14" fmla="*/ 262604 h 293750"/>
                    <a:gd name="connsiteX15" fmla="*/ 0 w 156495"/>
                    <a:gd name="connsiteY15" fmla="*/ 293751 h 293750"/>
                    <a:gd name="connsiteX16" fmla="*/ 156496 w 156495"/>
                    <a:gd name="connsiteY16" fmla="*/ 293751 h 2937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56495" h="293750">
                      <a:moveTo>
                        <a:pt x="156496" y="293751"/>
                      </a:moveTo>
                      <a:lnTo>
                        <a:pt x="156496" y="262604"/>
                      </a:lnTo>
                      <a:lnTo>
                        <a:pt x="149352" y="262604"/>
                      </a:lnTo>
                      <a:cubicBezTo>
                        <a:pt x="136398" y="262604"/>
                        <a:pt x="125730" y="251936"/>
                        <a:pt x="125730" y="238982"/>
                      </a:cubicBezTo>
                      <a:lnTo>
                        <a:pt x="125730" y="54769"/>
                      </a:lnTo>
                      <a:cubicBezTo>
                        <a:pt x="125730" y="41815"/>
                        <a:pt x="136303" y="31147"/>
                        <a:pt x="149352" y="31147"/>
                      </a:cubicBezTo>
                      <a:lnTo>
                        <a:pt x="156496" y="31147"/>
                      </a:lnTo>
                      <a:lnTo>
                        <a:pt x="156496" y="0"/>
                      </a:lnTo>
                      <a:lnTo>
                        <a:pt x="0" y="0"/>
                      </a:lnTo>
                      <a:lnTo>
                        <a:pt x="0" y="31147"/>
                      </a:lnTo>
                      <a:lnTo>
                        <a:pt x="7144" y="31147"/>
                      </a:lnTo>
                      <a:cubicBezTo>
                        <a:pt x="20383" y="31147"/>
                        <a:pt x="30956" y="41720"/>
                        <a:pt x="30956" y="54769"/>
                      </a:cubicBezTo>
                      <a:lnTo>
                        <a:pt x="30956" y="238982"/>
                      </a:lnTo>
                      <a:cubicBezTo>
                        <a:pt x="30956" y="251936"/>
                        <a:pt x="20383" y="262604"/>
                        <a:pt x="7144" y="262604"/>
                      </a:cubicBezTo>
                      <a:lnTo>
                        <a:pt x="0" y="262604"/>
                      </a:lnTo>
                      <a:lnTo>
                        <a:pt x="0" y="293751"/>
                      </a:lnTo>
                      <a:lnTo>
                        <a:pt x="156496" y="29375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" name="Freihandform: Form 11">
                  <a:extLst>
                    <a:ext uri="{FF2B5EF4-FFF2-40B4-BE49-F238E27FC236}">
                      <a16:creationId xmlns:a16="http://schemas.microsoft.com/office/drawing/2014/main" id="{FA7C0A62-6D21-D1A6-4094-2D30CC136037}"/>
                    </a:ext>
                  </a:extLst>
                </p:cNvPr>
                <p:cNvSpPr/>
                <p:nvPr/>
              </p:nvSpPr>
              <p:spPr>
                <a:xfrm>
                  <a:off x="5748718" y="3134295"/>
                  <a:ext cx="248983" cy="294132"/>
                </a:xfrm>
                <a:custGeom>
                  <a:avLst/>
                  <a:gdLst>
                    <a:gd name="connsiteX0" fmla="*/ 248983 w 248983"/>
                    <a:gd name="connsiteY0" fmla="*/ 294037 h 294132"/>
                    <a:gd name="connsiteX1" fmla="*/ 248983 w 248983"/>
                    <a:gd name="connsiteY1" fmla="*/ 198596 h 294132"/>
                    <a:gd name="connsiteX2" fmla="*/ 217361 w 248983"/>
                    <a:gd name="connsiteY2" fmla="*/ 198596 h 294132"/>
                    <a:gd name="connsiteX3" fmla="*/ 156496 w 248983"/>
                    <a:gd name="connsiteY3" fmla="*/ 262890 h 294132"/>
                    <a:gd name="connsiteX4" fmla="*/ 124873 w 248983"/>
                    <a:gd name="connsiteY4" fmla="*/ 262890 h 294132"/>
                    <a:gd name="connsiteX5" fmla="*/ 124873 w 248983"/>
                    <a:gd name="connsiteY5" fmla="*/ 162687 h 294132"/>
                    <a:gd name="connsiteX6" fmla="*/ 136112 w 248983"/>
                    <a:gd name="connsiteY6" fmla="*/ 162687 h 294132"/>
                    <a:gd name="connsiteX7" fmla="*/ 159925 w 248983"/>
                    <a:gd name="connsiteY7" fmla="*/ 186500 h 294132"/>
                    <a:gd name="connsiteX8" fmla="*/ 159925 w 248983"/>
                    <a:gd name="connsiteY8" fmla="*/ 198406 h 294132"/>
                    <a:gd name="connsiteX9" fmla="*/ 191071 w 248983"/>
                    <a:gd name="connsiteY9" fmla="*/ 198406 h 294132"/>
                    <a:gd name="connsiteX10" fmla="*/ 191071 w 248983"/>
                    <a:gd name="connsiteY10" fmla="*/ 95631 h 294132"/>
                    <a:gd name="connsiteX11" fmla="*/ 159925 w 248983"/>
                    <a:gd name="connsiteY11" fmla="*/ 95631 h 294132"/>
                    <a:gd name="connsiteX12" fmla="*/ 159925 w 248983"/>
                    <a:gd name="connsiteY12" fmla="*/ 107537 h 294132"/>
                    <a:gd name="connsiteX13" fmla="*/ 136112 w 248983"/>
                    <a:gd name="connsiteY13" fmla="*/ 131350 h 294132"/>
                    <a:gd name="connsiteX14" fmla="*/ 124873 w 248983"/>
                    <a:gd name="connsiteY14" fmla="*/ 131350 h 294132"/>
                    <a:gd name="connsiteX15" fmla="*/ 124873 w 248983"/>
                    <a:gd name="connsiteY15" fmla="*/ 31147 h 294132"/>
                    <a:gd name="connsiteX16" fmla="*/ 156496 w 248983"/>
                    <a:gd name="connsiteY16" fmla="*/ 31147 h 294132"/>
                    <a:gd name="connsiteX17" fmla="*/ 217361 w 248983"/>
                    <a:gd name="connsiteY17" fmla="*/ 95441 h 294132"/>
                    <a:gd name="connsiteX18" fmla="*/ 248983 w 248983"/>
                    <a:gd name="connsiteY18" fmla="*/ 95441 h 294132"/>
                    <a:gd name="connsiteX19" fmla="*/ 248983 w 248983"/>
                    <a:gd name="connsiteY19" fmla="*/ 0 h 294132"/>
                    <a:gd name="connsiteX20" fmla="*/ 0 w 248983"/>
                    <a:gd name="connsiteY20" fmla="*/ 0 h 294132"/>
                    <a:gd name="connsiteX21" fmla="*/ 0 w 248983"/>
                    <a:gd name="connsiteY21" fmla="*/ 31337 h 294132"/>
                    <a:gd name="connsiteX22" fmla="*/ 7144 w 248983"/>
                    <a:gd name="connsiteY22" fmla="*/ 31337 h 294132"/>
                    <a:gd name="connsiteX23" fmla="*/ 30766 w 248983"/>
                    <a:gd name="connsiteY23" fmla="*/ 54959 h 294132"/>
                    <a:gd name="connsiteX24" fmla="*/ 30766 w 248983"/>
                    <a:gd name="connsiteY24" fmla="*/ 239173 h 294132"/>
                    <a:gd name="connsiteX25" fmla="*/ 7144 w 248983"/>
                    <a:gd name="connsiteY25" fmla="*/ 262795 h 294132"/>
                    <a:gd name="connsiteX26" fmla="*/ 0 w 248983"/>
                    <a:gd name="connsiteY26" fmla="*/ 262795 h 294132"/>
                    <a:gd name="connsiteX27" fmla="*/ 0 w 248983"/>
                    <a:gd name="connsiteY27" fmla="*/ 293942 h 294132"/>
                    <a:gd name="connsiteX28" fmla="*/ 248983 w 248983"/>
                    <a:gd name="connsiteY28" fmla="*/ 294132 h 2941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248983" h="294132">
                      <a:moveTo>
                        <a:pt x="248983" y="294037"/>
                      </a:moveTo>
                      <a:lnTo>
                        <a:pt x="248983" y="198596"/>
                      </a:lnTo>
                      <a:lnTo>
                        <a:pt x="217361" y="198596"/>
                      </a:lnTo>
                      <a:cubicBezTo>
                        <a:pt x="217361" y="198596"/>
                        <a:pt x="211550" y="262890"/>
                        <a:pt x="156496" y="262890"/>
                      </a:cubicBezTo>
                      <a:lnTo>
                        <a:pt x="124873" y="262890"/>
                      </a:lnTo>
                      <a:lnTo>
                        <a:pt x="124873" y="162687"/>
                      </a:lnTo>
                      <a:lnTo>
                        <a:pt x="136112" y="162687"/>
                      </a:lnTo>
                      <a:cubicBezTo>
                        <a:pt x="149352" y="162687"/>
                        <a:pt x="159925" y="173355"/>
                        <a:pt x="159925" y="186500"/>
                      </a:cubicBezTo>
                      <a:lnTo>
                        <a:pt x="159925" y="198406"/>
                      </a:lnTo>
                      <a:lnTo>
                        <a:pt x="191071" y="198406"/>
                      </a:lnTo>
                      <a:lnTo>
                        <a:pt x="191071" y="95631"/>
                      </a:lnTo>
                      <a:lnTo>
                        <a:pt x="159925" y="95631"/>
                      </a:lnTo>
                      <a:lnTo>
                        <a:pt x="159925" y="107537"/>
                      </a:lnTo>
                      <a:cubicBezTo>
                        <a:pt x="159925" y="120777"/>
                        <a:pt x="149352" y="131350"/>
                        <a:pt x="136112" y="131350"/>
                      </a:cubicBezTo>
                      <a:lnTo>
                        <a:pt x="124873" y="131350"/>
                      </a:lnTo>
                      <a:lnTo>
                        <a:pt x="124873" y="31147"/>
                      </a:lnTo>
                      <a:lnTo>
                        <a:pt x="156496" y="31147"/>
                      </a:lnTo>
                      <a:cubicBezTo>
                        <a:pt x="211455" y="31147"/>
                        <a:pt x="217361" y="95441"/>
                        <a:pt x="217361" y="95441"/>
                      </a:cubicBezTo>
                      <a:lnTo>
                        <a:pt x="248983" y="95441"/>
                      </a:lnTo>
                      <a:lnTo>
                        <a:pt x="248983" y="0"/>
                      </a:lnTo>
                      <a:lnTo>
                        <a:pt x="0" y="0"/>
                      </a:lnTo>
                      <a:lnTo>
                        <a:pt x="0" y="31337"/>
                      </a:lnTo>
                      <a:lnTo>
                        <a:pt x="7144" y="31337"/>
                      </a:lnTo>
                      <a:cubicBezTo>
                        <a:pt x="20098" y="31337"/>
                        <a:pt x="30766" y="42005"/>
                        <a:pt x="30766" y="54959"/>
                      </a:cubicBezTo>
                      <a:lnTo>
                        <a:pt x="30766" y="239173"/>
                      </a:lnTo>
                      <a:cubicBezTo>
                        <a:pt x="30766" y="252127"/>
                        <a:pt x="20193" y="262795"/>
                        <a:pt x="7144" y="262795"/>
                      </a:cubicBezTo>
                      <a:lnTo>
                        <a:pt x="0" y="262795"/>
                      </a:lnTo>
                      <a:lnTo>
                        <a:pt x="0" y="293942"/>
                      </a:lnTo>
                      <a:lnTo>
                        <a:pt x="248983" y="29413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" name="Freihandform: Form 12">
                  <a:extLst>
                    <a:ext uri="{FF2B5EF4-FFF2-40B4-BE49-F238E27FC236}">
                      <a16:creationId xmlns:a16="http://schemas.microsoft.com/office/drawing/2014/main" id="{15769550-599B-4DF1-5CAB-A8B296D76635}"/>
                    </a:ext>
                  </a:extLst>
                </p:cNvPr>
                <p:cNvSpPr/>
                <p:nvPr/>
              </p:nvSpPr>
              <p:spPr>
                <a:xfrm>
                  <a:off x="6217588" y="3134295"/>
                  <a:ext cx="237562" cy="293941"/>
                </a:xfrm>
                <a:custGeom>
                  <a:avLst/>
                  <a:gdLst>
                    <a:gd name="connsiteX0" fmla="*/ 133586 w 237562"/>
                    <a:gd name="connsiteY0" fmla="*/ 30956 h 293941"/>
                    <a:gd name="connsiteX1" fmla="*/ 201976 w 237562"/>
                    <a:gd name="connsiteY1" fmla="*/ 95250 h 293941"/>
                    <a:gd name="connsiteX2" fmla="*/ 232551 w 237562"/>
                    <a:gd name="connsiteY2" fmla="*/ 95250 h 293941"/>
                    <a:gd name="connsiteX3" fmla="*/ 232551 w 237562"/>
                    <a:gd name="connsiteY3" fmla="*/ 0 h 293941"/>
                    <a:gd name="connsiteX4" fmla="*/ 6713 w 237562"/>
                    <a:gd name="connsiteY4" fmla="*/ 0 h 293941"/>
                    <a:gd name="connsiteX5" fmla="*/ 64339 w 237562"/>
                    <a:gd name="connsiteY5" fmla="*/ 151733 h 293941"/>
                    <a:gd name="connsiteX6" fmla="*/ 132348 w 237562"/>
                    <a:gd name="connsiteY6" fmla="*/ 262795 h 293941"/>
                    <a:gd name="connsiteX7" fmla="*/ 94248 w 237562"/>
                    <a:gd name="connsiteY7" fmla="*/ 262795 h 293941"/>
                    <a:gd name="connsiteX8" fmla="*/ 33383 w 237562"/>
                    <a:gd name="connsiteY8" fmla="*/ 198501 h 293941"/>
                    <a:gd name="connsiteX9" fmla="*/ 1760 w 237562"/>
                    <a:gd name="connsiteY9" fmla="*/ 198501 h 293941"/>
                    <a:gd name="connsiteX10" fmla="*/ 1760 w 237562"/>
                    <a:gd name="connsiteY10" fmla="*/ 293942 h 293941"/>
                    <a:gd name="connsiteX11" fmla="*/ 229312 w 237562"/>
                    <a:gd name="connsiteY11" fmla="*/ 293942 h 293941"/>
                    <a:gd name="connsiteX12" fmla="*/ 168257 w 237562"/>
                    <a:gd name="connsiteY12" fmla="*/ 133731 h 293941"/>
                    <a:gd name="connsiteX13" fmla="*/ 104821 w 237562"/>
                    <a:gd name="connsiteY13" fmla="*/ 30671 h 293941"/>
                    <a:gd name="connsiteX14" fmla="*/ 133586 w 237562"/>
                    <a:gd name="connsiteY14" fmla="*/ 30861 h 2939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237562" h="293941">
                      <a:moveTo>
                        <a:pt x="133586" y="30956"/>
                      </a:moveTo>
                      <a:cubicBezTo>
                        <a:pt x="197023" y="30956"/>
                        <a:pt x="201976" y="95250"/>
                        <a:pt x="201976" y="95250"/>
                      </a:cubicBezTo>
                      <a:lnTo>
                        <a:pt x="232551" y="95250"/>
                      </a:lnTo>
                      <a:lnTo>
                        <a:pt x="232551" y="0"/>
                      </a:lnTo>
                      <a:lnTo>
                        <a:pt x="6713" y="0"/>
                      </a:lnTo>
                      <a:cubicBezTo>
                        <a:pt x="6713" y="0"/>
                        <a:pt x="-29006" y="46768"/>
                        <a:pt x="64339" y="151733"/>
                      </a:cubicBezTo>
                      <a:cubicBezTo>
                        <a:pt x="64339" y="151733"/>
                        <a:pt x="130538" y="228981"/>
                        <a:pt x="132348" y="262795"/>
                      </a:cubicBezTo>
                      <a:lnTo>
                        <a:pt x="94248" y="262795"/>
                      </a:lnTo>
                      <a:cubicBezTo>
                        <a:pt x="39289" y="262795"/>
                        <a:pt x="33383" y="198501"/>
                        <a:pt x="33383" y="198501"/>
                      </a:cubicBezTo>
                      <a:lnTo>
                        <a:pt x="1760" y="198501"/>
                      </a:lnTo>
                      <a:lnTo>
                        <a:pt x="1760" y="293942"/>
                      </a:lnTo>
                      <a:lnTo>
                        <a:pt x="229312" y="293942"/>
                      </a:lnTo>
                      <a:cubicBezTo>
                        <a:pt x="229312" y="293942"/>
                        <a:pt x="270651" y="249365"/>
                        <a:pt x="168257" y="133731"/>
                      </a:cubicBezTo>
                      <a:cubicBezTo>
                        <a:pt x="168257" y="133731"/>
                        <a:pt x="114536" y="78581"/>
                        <a:pt x="104821" y="30671"/>
                      </a:cubicBezTo>
                      <a:lnTo>
                        <a:pt x="133586" y="3086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4" name="Freihandform: Form 13">
                  <a:extLst>
                    <a:ext uri="{FF2B5EF4-FFF2-40B4-BE49-F238E27FC236}">
                      <a16:creationId xmlns:a16="http://schemas.microsoft.com/office/drawing/2014/main" id="{05D44D68-2DFC-3034-6094-8EEA9A35B8D9}"/>
                    </a:ext>
                  </a:extLst>
                </p:cNvPr>
                <p:cNvSpPr/>
                <p:nvPr/>
              </p:nvSpPr>
              <p:spPr>
                <a:xfrm>
                  <a:off x="6481716" y="3134295"/>
                  <a:ext cx="237562" cy="293941"/>
                </a:xfrm>
                <a:custGeom>
                  <a:avLst/>
                  <a:gdLst>
                    <a:gd name="connsiteX0" fmla="*/ 133586 w 237562"/>
                    <a:gd name="connsiteY0" fmla="*/ 30956 h 293941"/>
                    <a:gd name="connsiteX1" fmla="*/ 201976 w 237562"/>
                    <a:gd name="connsiteY1" fmla="*/ 95250 h 293941"/>
                    <a:gd name="connsiteX2" fmla="*/ 232265 w 237562"/>
                    <a:gd name="connsiteY2" fmla="*/ 95250 h 293941"/>
                    <a:gd name="connsiteX3" fmla="*/ 232265 w 237562"/>
                    <a:gd name="connsiteY3" fmla="*/ 0 h 293941"/>
                    <a:gd name="connsiteX4" fmla="*/ 6713 w 237562"/>
                    <a:gd name="connsiteY4" fmla="*/ 0 h 293941"/>
                    <a:gd name="connsiteX5" fmla="*/ 64339 w 237562"/>
                    <a:gd name="connsiteY5" fmla="*/ 151733 h 293941"/>
                    <a:gd name="connsiteX6" fmla="*/ 132348 w 237562"/>
                    <a:gd name="connsiteY6" fmla="*/ 262795 h 293941"/>
                    <a:gd name="connsiteX7" fmla="*/ 94248 w 237562"/>
                    <a:gd name="connsiteY7" fmla="*/ 262795 h 293941"/>
                    <a:gd name="connsiteX8" fmla="*/ 33383 w 237562"/>
                    <a:gd name="connsiteY8" fmla="*/ 198501 h 293941"/>
                    <a:gd name="connsiteX9" fmla="*/ 1760 w 237562"/>
                    <a:gd name="connsiteY9" fmla="*/ 198501 h 293941"/>
                    <a:gd name="connsiteX10" fmla="*/ 1760 w 237562"/>
                    <a:gd name="connsiteY10" fmla="*/ 293942 h 293941"/>
                    <a:gd name="connsiteX11" fmla="*/ 229313 w 237562"/>
                    <a:gd name="connsiteY11" fmla="*/ 293942 h 293941"/>
                    <a:gd name="connsiteX12" fmla="*/ 168257 w 237562"/>
                    <a:gd name="connsiteY12" fmla="*/ 133731 h 293941"/>
                    <a:gd name="connsiteX13" fmla="*/ 104821 w 237562"/>
                    <a:gd name="connsiteY13" fmla="*/ 30671 h 293941"/>
                    <a:gd name="connsiteX14" fmla="*/ 133586 w 237562"/>
                    <a:gd name="connsiteY14" fmla="*/ 30861 h 2939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237562" h="293941">
                      <a:moveTo>
                        <a:pt x="133586" y="30956"/>
                      </a:moveTo>
                      <a:cubicBezTo>
                        <a:pt x="196832" y="30956"/>
                        <a:pt x="201976" y="95250"/>
                        <a:pt x="201976" y="95250"/>
                      </a:cubicBezTo>
                      <a:lnTo>
                        <a:pt x="232265" y="95250"/>
                      </a:lnTo>
                      <a:lnTo>
                        <a:pt x="232265" y="0"/>
                      </a:lnTo>
                      <a:lnTo>
                        <a:pt x="6713" y="0"/>
                      </a:lnTo>
                      <a:cubicBezTo>
                        <a:pt x="6713" y="0"/>
                        <a:pt x="-29006" y="46768"/>
                        <a:pt x="64339" y="151733"/>
                      </a:cubicBezTo>
                      <a:cubicBezTo>
                        <a:pt x="64339" y="151733"/>
                        <a:pt x="130538" y="228981"/>
                        <a:pt x="132348" y="262795"/>
                      </a:cubicBezTo>
                      <a:lnTo>
                        <a:pt x="94248" y="262795"/>
                      </a:lnTo>
                      <a:cubicBezTo>
                        <a:pt x="39289" y="262795"/>
                        <a:pt x="33383" y="198501"/>
                        <a:pt x="33383" y="198501"/>
                      </a:cubicBezTo>
                      <a:lnTo>
                        <a:pt x="1760" y="198501"/>
                      </a:lnTo>
                      <a:lnTo>
                        <a:pt x="1760" y="293942"/>
                      </a:lnTo>
                      <a:lnTo>
                        <a:pt x="229313" y="293942"/>
                      </a:lnTo>
                      <a:cubicBezTo>
                        <a:pt x="229313" y="293942"/>
                        <a:pt x="270651" y="249365"/>
                        <a:pt x="168257" y="133731"/>
                      </a:cubicBezTo>
                      <a:cubicBezTo>
                        <a:pt x="168257" y="133731"/>
                        <a:pt x="114536" y="78581"/>
                        <a:pt x="104821" y="30671"/>
                      </a:cubicBezTo>
                      <a:lnTo>
                        <a:pt x="133586" y="3086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B3D8C79E-D3D5-4B2A-5E19-7839AB69965C}"/>
              </a:ext>
            </a:extLst>
          </p:cNvPr>
          <p:cNvGrpSpPr/>
          <p:nvPr userDrawn="1"/>
        </p:nvGrpSpPr>
        <p:grpSpPr>
          <a:xfrm>
            <a:off x="304116" y="-697714"/>
            <a:ext cx="11370764" cy="411957"/>
            <a:chOff x="304116" y="6944502"/>
            <a:chExt cx="11370764" cy="411957"/>
          </a:xfrm>
        </p:grpSpPr>
        <p:grpSp>
          <p:nvGrpSpPr>
            <p:cNvPr id="3" name="Gruppieren 2">
              <a:extLst>
                <a:ext uri="{FF2B5EF4-FFF2-40B4-BE49-F238E27FC236}">
                  <a16:creationId xmlns:a16="http://schemas.microsoft.com/office/drawing/2014/main" id="{D3BED5A4-5ED5-F10B-72DA-9AE80C986A5C}"/>
                </a:ext>
              </a:extLst>
            </p:cNvPr>
            <p:cNvGrpSpPr/>
            <p:nvPr/>
          </p:nvGrpSpPr>
          <p:grpSpPr>
            <a:xfrm rot="16200000">
              <a:off x="204049" y="7044570"/>
              <a:ext cx="411956" cy="211821"/>
              <a:chOff x="-615197" y="4299854"/>
              <a:chExt cx="411956" cy="211821"/>
            </a:xfrm>
          </p:grpSpPr>
          <p:cxnSp>
            <p:nvCxnSpPr>
              <p:cNvPr id="24" name="Gerader Verbinder 23">
                <a:extLst>
                  <a:ext uri="{FF2B5EF4-FFF2-40B4-BE49-F238E27FC236}">
                    <a16:creationId xmlns:a16="http://schemas.microsoft.com/office/drawing/2014/main" id="{6DF4069D-803A-6712-707C-90BEAE682CF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5" name="Textfeld 24">
                <a:extLst>
                  <a:ext uri="{FF2B5EF4-FFF2-40B4-BE49-F238E27FC236}">
                    <a16:creationId xmlns:a16="http://schemas.microsoft.com/office/drawing/2014/main" id="{8062EF8D-E55D-A598-05C5-8B167A04D5AC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15.50</a:t>
                </a:r>
              </a:p>
            </p:txBody>
          </p:sp>
        </p:grpSp>
        <p:grpSp>
          <p:nvGrpSpPr>
            <p:cNvPr id="4" name="Gruppieren 3">
              <a:extLst>
                <a:ext uri="{FF2B5EF4-FFF2-40B4-BE49-F238E27FC236}">
                  <a16:creationId xmlns:a16="http://schemas.microsoft.com/office/drawing/2014/main" id="{CF424B15-6A52-DD73-7D8D-F08B069347BC}"/>
                </a:ext>
              </a:extLst>
            </p:cNvPr>
            <p:cNvGrpSpPr/>
            <p:nvPr/>
          </p:nvGrpSpPr>
          <p:grpSpPr>
            <a:xfrm rot="16200000">
              <a:off x="5639649" y="7044570"/>
              <a:ext cx="411956" cy="211821"/>
              <a:chOff x="-615197" y="4299854"/>
              <a:chExt cx="411956" cy="211821"/>
            </a:xfrm>
          </p:grpSpPr>
          <p:cxnSp>
            <p:nvCxnSpPr>
              <p:cNvPr id="22" name="Gerader Verbinder 21">
                <a:extLst>
                  <a:ext uri="{FF2B5EF4-FFF2-40B4-BE49-F238E27FC236}">
                    <a16:creationId xmlns:a16="http://schemas.microsoft.com/office/drawing/2014/main" id="{E91CC32E-2B01-7607-A8A9-F8F56DE7006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" name="Textfeld 22">
                <a:extLst>
                  <a:ext uri="{FF2B5EF4-FFF2-40B4-BE49-F238E27FC236}">
                    <a16:creationId xmlns:a16="http://schemas.microsoft.com/office/drawing/2014/main" id="{A21AB4FC-5A80-5F94-BF91-93EC11E8ECBE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0.40</a:t>
                </a:r>
              </a:p>
            </p:txBody>
          </p:sp>
        </p:grp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FF3F126B-3788-1138-8F25-736751796433}"/>
                </a:ext>
              </a:extLst>
            </p:cNvPr>
            <p:cNvGrpSpPr/>
            <p:nvPr/>
          </p:nvGrpSpPr>
          <p:grpSpPr>
            <a:xfrm rot="5400000">
              <a:off x="6093326" y="7046990"/>
              <a:ext cx="411956" cy="206980"/>
              <a:chOff x="-615197" y="4350961"/>
              <a:chExt cx="411956" cy="206980"/>
            </a:xfrm>
          </p:grpSpPr>
          <p:cxnSp>
            <p:nvCxnSpPr>
              <p:cNvPr id="20" name="Gerader Verbinder 19">
                <a:extLst>
                  <a:ext uri="{FF2B5EF4-FFF2-40B4-BE49-F238E27FC236}">
                    <a16:creationId xmlns:a16="http://schemas.microsoft.com/office/drawing/2014/main" id="{D28111E0-E1F0-0793-ED27-BECEDFB7EA5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" name="Textfeld 20">
                <a:extLst>
                  <a:ext uri="{FF2B5EF4-FFF2-40B4-BE49-F238E27FC236}">
                    <a16:creationId xmlns:a16="http://schemas.microsoft.com/office/drawing/2014/main" id="{FF56B3E8-E255-BFBB-93D7-94DB3478C309}"/>
                  </a:ext>
                </a:extLst>
              </p:cNvPr>
              <p:cNvSpPr txBox="1"/>
              <p:nvPr/>
            </p:nvSpPr>
            <p:spPr>
              <a:xfrm rot="10800000">
                <a:off x="-615197" y="4350961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0.40</a:t>
                </a:r>
              </a:p>
            </p:txBody>
          </p:sp>
        </p:grp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86048E87-BF9D-889C-571D-5DBA87FACB14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5890022" y="7150480"/>
              <a:ext cx="411956" cy="0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1714F374-3947-232B-9C07-95CEFC2C1F21}"/>
                </a:ext>
              </a:extLst>
            </p:cNvPr>
            <p:cNvGrpSpPr/>
            <p:nvPr/>
          </p:nvGrpSpPr>
          <p:grpSpPr>
            <a:xfrm rot="16200000">
              <a:off x="11362992" y="7044570"/>
              <a:ext cx="411956" cy="211821"/>
              <a:chOff x="-615197" y="4299854"/>
              <a:chExt cx="411956" cy="211821"/>
            </a:xfrm>
          </p:grpSpPr>
          <p:cxnSp>
            <p:nvCxnSpPr>
              <p:cNvPr id="18" name="Gerader Verbinder 17">
                <a:extLst>
                  <a:ext uri="{FF2B5EF4-FFF2-40B4-BE49-F238E27FC236}">
                    <a16:creationId xmlns:a16="http://schemas.microsoft.com/office/drawing/2014/main" id="{C1CD8933-BEE5-B6D1-1961-7377B9D5D9A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" name="Textfeld 18">
                <a:extLst>
                  <a:ext uri="{FF2B5EF4-FFF2-40B4-BE49-F238E27FC236}">
                    <a16:creationId xmlns:a16="http://schemas.microsoft.com/office/drawing/2014/main" id="{00721BA9-1967-3498-FA72-F2CD791FADFA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15.50</a:t>
                </a:r>
              </a:p>
            </p:txBody>
          </p:sp>
        </p:grpSp>
      </p:grp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00CFD191-C453-D9E6-A54C-D57A42FCE55E}"/>
              </a:ext>
            </a:extLst>
          </p:cNvPr>
          <p:cNvGrpSpPr/>
          <p:nvPr userDrawn="1"/>
        </p:nvGrpSpPr>
        <p:grpSpPr>
          <a:xfrm>
            <a:off x="-697714" y="80201"/>
            <a:ext cx="411956" cy="6720119"/>
            <a:chOff x="-502267" y="80201"/>
            <a:chExt cx="411956" cy="6720119"/>
          </a:xfrm>
        </p:grpSpPr>
        <p:grpSp>
          <p:nvGrpSpPr>
            <p:cNvPr id="27" name="Gruppieren 26">
              <a:extLst>
                <a:ext uri="{FF2B5EF4-FFF2-40B4-BE49-F238E27FC236}">
                  <a16:creationId xmlns:a16="http://schemas.microsoft.com/office/drawing/2014/main" id="{4ABF5C82-1DEA-07D3-7019-399AA67F419C}"/>
                </a:ext>
              </a:extLst>
            </p:cNvPr>
            <p:cNvGrpSpPr/>
            <p:nvPr/>
          </p:nvGrpSpPr>
          <p:grpSpPr>
            <a:xfrm>
              <a:off x="-502267" y="6593340"/>
              <a:ext cx="411956" cy="206980"/>
              <a:chOff x="-615197" y="4452994"/>
              <a:chExt cx="411956" cy="206980"/>
            </a:xfrm>
          </p:grpSpPr>
          <p:sp>
            <p:nvSpPr>
              <p:cNvPr id="44" name="Textfeld 43">
                <a:extLst>
                  <a:ext uri="{FF2B5EF4-FFF2-40B4-BE49-F238E27FC236}">
                    <a16:creationId xmlns:a16="http://schemas.microsoft.com/office/drawing/2014/main" id="{9BE1F3B5-73AA-9B32-C8E0-F2F409551AF3}"/>
                  </a:ext>
                </a:extLst>
              </p:cNvPr>
              <p:cNvSpPr txBox="1"/>
              <p:nvPr/>
            </p:nvSpPr>
            <p:spPr>
              <a:xfrm>
                <a:off x="-615197" y="445299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8.92</a:t>
                </a:r>
              </a:p>
            </p:txBody>
          </p:sp>
          <p:cxnSp>
            <p:nvCxnSpPr>
              <p:cNvPr id="45" name="Gerader Verbinder 44">
                <a:extLst>
                  <a:ext uri="{FF2B5EF4-FFF2-40B4-BE49-F238E27FC236}">
                    <a16:creationId xmlns:a16="http://schemas.microsoft.com/office/drawing/2014/main" id="{E81F0E3D-D2B2-EBBF-B2D6-5ACA24E78D9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97389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F212F8FA-0480-98ED-EE51-818E977C46F2}"/>
                </a:ext>
              </a:extLst>
            </p:cNvPr>
            <p:cNvGrpSpPr/>
            <p:nvPr/>
          </p:nvGrpSpPr>
          <p:grpSpPr>
            <a:xfrm>
              <a:off x="-502267" y="5876163"/>
              <a:ext cx="411956" cy="216662"/>
              <a:chOff x="-615197" y="4295013"/>
              <a:chExt cx="411956" cy="216662"/>
            </a:xfrm>
          </p:grpSpPr>
          <p:cxnSp>
            <p:nvCxnSpPr>
              <p:cNvPr id="42" name="Gerader Verbinder 41">
                <a:extLst>
                  <a:ext uri="{FF2B5EF4-FFF2-40B4-BE49-F238E27FC236}">
                    <a16:creationId xmlns:a16="http://schemas.microsoft.com/office/drawing/2014/main" id="{AB3FF999-A5C3-F6C3-5FC4-2132DC49D9E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3" name="Textfeld 42">
                <a:extLst>
                  <a:ext uri="{FF2B5EF4-FFF2-40B4-BE49-F238E27FC236}">
                    <a16:creationId xmlns:a16="http://schemas.microsoft.com/office/drawing/2014/main" id="{F43DCA5E-941C-415F-B932-20929F8D1744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7.40</a:t>
                </a:r>
              </a:p>
            </p:txBody>
          </p:sp>
        </p:grp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2A2074A4-148B-B799-8835-02AEC78E28CF}"/>
                </a:ext>
              </a:extLst>
            </p:cNvPr>
            <p:cNvGrpSpPr/>
            <p:nvPr/>
          </p:nvGrpSpPr>
          <p:grpSpPr>
            <a:xfrm>
              <a:off x="-502267" y="3212338"/>
              <a:ext cx="411956" cy="216662"/>
              <a:chOff x="-615197" y="4295013"/>
              <a:chExt cx="411956" cy="216662"/>
            </a:xfrm>
          </p:grpSpPr>
          <p:cxnSp>
            <p:nvCxnSpPr>
              <p:cNvPr id="40" name="Gerader Verbinder 39">
                <a:extLst>
                  <a:ext uri="{FF2B5EF4-FFF2-40B4-BE49-F238E27FC236}">
                    <a16:creationId xmlns:a16="http://schemas.microsoft.com/office/drawing/2014/main" id="{0E9B5BCC-762D-F5E1-B35B-3E3D977C03B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Textfeld 40">
                <a:extLst>
                  <a:ext uri="{FF2B5EF4-FFF2-40B4-BE49-F238E27FC236}">
                    <a16:creationId xmlns:a16="http://schemas.microsoft.com/office/drawing/2014/main" id="{EF1920A3-B04B-E7A7-DE69-6B0BF450A490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0.00</a:t>
                </a:r>
              </a:p>
            </p:txBody>
          </p:sp>
        </p:grpSp>
        <p:grpSp>
          <p:nvGrpSpPr>
            <p:cNvPr id="30" name="Gruppieren 29">
              <a:extLst>
                <a:ext uri="{FF2B5EF4-FFF2-40B4-BE49-F238E27FC236}">
                  <a16:creationId xmlns:a16="http://schemas.microsoft.com/office/drawing/2014/main" id="{ECBDFA9C-3AF6-CD9E-37AF-CF3ACA98BC64}"/>
                </a:ext>
              </a:extLst>
            </p:cNvPr>
            <p:cNvGrpSpPr/>
            <p:nvPr/>
          </p:nvGrpSpPr>
          <p:grpSpPr>
            <a:xfrm>
              <a:off x="-502267" y="835851"/>
              <a:ext cx="411956" cy="216662"/>
              <a:chOff x="-615197" y="4295013"/>
              <a:chExt cx="411956" cy="216662"/>
            </a:xfrm>
          </p:grpSpPr>
          <p:cxnSp>
            <p:nvCxnSpPr>
              <p:cNvPr id="38" name="Gerader Verbinder 37">
                <a:extLst>
                  <a:ext uri="{FF2B5EF4-FFF2-40B4-BE49-F238E27FC236}">
                    <a16:creationId xmlns:a16="http://schemas.microsoft.com/office/drawing/2014/main" id="{5B4B8E71-DA76-EF37-0B99-5ED9D0BC061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9" name="Textfeld 38">
                <a:extLst>
                  <a:ext uri="{FF2B5EF4-FFF2-40B4-BE49-F238E27FC236}">
                    <a16:creationId xmlns:a16="http://schemas.microsoft.com/office/drawing/2014/main" id="{CEC12D9B-36E6-D02C-A02D-6E06502ED4F0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6.60</a:t>
                </a:r>
              </a:p>
            </p:txBody>
          </p:sp>
        </p:grpSp>
        <p:grpSp>
          <p:nvGrpSpPr>
            <p:cNvPr id="31" name="Gruppieren 30">
              <a:extLst>
                <a:ext uri="{FF2B5EF4-FFF2-40B4-BE49-F238E27FC236}">
                  <a16:creationId xmlns:a16="http://schemas.microsoft.com/office/drawing/2014/main" id="{BCB96286-E66A-2594-1DE7-1ECF503ED695}"/>
                </a:ext>
              </a:extLst>
            </p:cNvPr>
            <p:cNvGrpSpPr/>
            <p:nvPr/>
          </p:nvGrpSpPr>
          <p:grpSpPr>
            <a:xfrm>
              <a:off x="-502267" y="1412113"/>
              <a:ext cx="411956" cy="216662"/>
              <a:chOff x="-615197" y="4295013"/>
              <a:chExt cx="411956" cy="216662"/>
            </a:xfrm>
          </p:grpSpPr>
          <p:cxnSp>
            <p:nvCxnSpPr>
              <p:cNvPr id="35" name="Gerader Verbinder 34">
                <a:extLst>
                  <a:ext uri="{FF2B5EF4-FFF2-40B4-BE49-F238E27FC236}">
                    <a16:creationId xmlns:a16="http://schemas.microsoft.com/office/drawing/2014/main" id="{F8FB0DBF-756A-50DA-2752-4DC0C4AFF6D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7" name="Textfeld 36">
                <a:extLst>
                  <a:ext uri="{FF2B5EF4-FFF2-40B4-BE49-F238E27FC236}">
                    <a16:creationId xmlns:a16="http://schemas.microsoft.com/office/drawing/2014/main" id="{155FCB42-3407-BD12-3649-96DA7E2251CE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5.00</a:t>
                </a:r>
              </a:p>
            </p:txBody>
          </p:sp>
        </p:grp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E711FAC4-EBAB-9AC7-5F3A-C6AB73EDFE44}"/>
                </a:ext>
              </a:extLst>
            </p:cNvPr>
            <p:cNvGrpSpPr/>
            <p:nvPr/>
          </p:nvGrpSpPr>
          <p:grpSpPr>
            <a:xfrm>
              <a:off x="-502267" y="80201"/>
              <a:ext cx="411956" cy="216662"/>
              <a:chOff x="-615197" y="4258501"/>
              <a:chExt cx="411956" cy="216662"/>
            </a:xfrm>
          </p:grpSpPr>
          <p:cxnSp>
            <p:nvCxnSpPr>
              <p:cNvPr id="33" name="Gerader Verbinder 32">
                <a:extLst>
                  <a:ext uri="{FF2B5EF4-FFF2-40B4-BE49-F238E27FC236}">
                    <a16:creationId xmlns:a16="http://schemas.microsoft.com/office/drawing/2014/main" id="{8B384485-5B50-8BF8-A074-A24C85B832E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75163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4" name="Textfeld 33">
                <a:extLst>
                  <a:ext uri="{FF2B5EF4-FFF2-40B4-BE49-F238E27FC236}">
                    <a16:creationId xmlns:a16="http://schemas.microsoft.com/office/drawing/2014/main" id="{9DB98E3B-7D68-7B7E-39BC-696054C9421E}"/>
                  </a:ext>
                </a:extLst>
              </p:cNvPr>
              <p:cNvSpPr txBox="1"/>
              <p:nvPr/>
            </p:nvSpPr>
            <p:spPr>
              <a:xfrm>
                <a:off x="-615197" y="4258501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8.70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838802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66405833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1205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467878" y="306390"/>
            <a:ext cx="8278284" cy="928687"/>
          </a:xfrm>
        </p:spPr>
        <p:txBody>
          <a:bodyPr/>
          <a:lstStyle>
            <a:lvl1pPr>
              <a:defRPr sz="2399"/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41497" y="341313"/>
            <a:ext cx="463429" cy="463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1919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 | 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92DD91-EAE8-4850-A1F1-29F8A7A57D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9" y="2213089"/>
            <a:ext cx="11157744" cy="738664"/>
          </a:xfrm>
        </p:spPr>
        <p:txBody>
          <a:bodyPr anchor="b" anchorCtr="0"/>
          <a:lstStyle>
            <a:lvl1pPr>
              <a:defRPr sz="4800" b="0"/>
            </a:lvl1pPr>
          </a:lstStyle>
          <a:p>
            <a:r>
              <a:rPr lang="en-US" noProof="0"/>
              <a:t>Edit Master Cover Format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810713E-3804-4787-B0E9-28105C27481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09725" y="4965080"/>
            <a:ext cx="3228592" cy="184666"/>
          </a:xfrm>
        </p:spPr>
        <p:txBody>
          <a:bodyPr wrap="square">
            <a:spAutoFit/>
          </a:bodyPr>
          <a:lstStyle>
            <a:lvl1pPr>
              <a:defRPr sz="12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Target group</a:t>
            </a:r>
          </a:p>
        </p:txBody>
      </p:sp>
      <p:sp>
        <p:nvSpPr>
          <p:cNvPr id="18" name="Textplatzhalter 14">
            <a:extLst>
              <a:ext uri="{FF2B5EF4-FFF2-40B4-BE49-F238E27FC236}">
                <a16:creationId xmlns:a16="http://schemas.microsoft.com/office/drawing/2014/main" id="{5E062E4E-FEC5-4007-94FA-E26B3F377E4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09725" y="5141291"/>
            <a:ext cx="3228592" cy="697105"/>
          </a:xfrm>
        </p:spPr>
        <p:txBody>
          <a:bodyPr wrap="square">
            <a:noAutofit/>
          </a:bodyPr>
          <a:lstStyle>
            <a:lvl1pPr>
              <a:defRPr sz="12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Aim</a:t>
            </a:r>
          </a:p>
        </p:txBody>
      </p:sp>
      <p:sp>
        <p:nvSpPr>
          <p:cNvPr id="19" name="Textplatzhalter 14">
            <a:extLst>
              <a:ext uri="{FF2B5EF4-FFF2-40B4-BE49-F238E27FC236}">
                <a16:creationId xmlns:a16="http://schemas.microsoft.com/office/drawing/2014/main" id="{B988E013-D7EA-4250-95FD-1943849D45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6107" y="4965080"/>
            <a:ext cx="4319999" cy="184666"/>
          </a:xfrm>
        </p:spPr>
        <p:txBody>
          <a:bodyPr>
            <a:spAutoFit/>
          </a:bodyPr>
          <a:lstStyle>
            <a:lvl1pPr>
              <a:defRPr sz="12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Author</a:t>
            </a:r>
          </a:p>
        </p:txBody>
      </p:sp>
      <p:sp>
        <p:nvSpPr>
          <p:cNvPr id="20" name="Textplatzhalter 14">
            <a:extLst>
              <a:ext uri="{FF2B5EF4-FFF2-40B4-BE49-F238E27FC236}">
                <a16:creationId xmlns:a16="http://schemas.microsoft.com/office/drawing/2014/main" id="{FCFD2F7D-2405-47CC-ADE1-89F4F050B1B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96107" y="5141292"/>
            <a:ext cx="4319999" cy="184666"/>
          </a:xfrm>
        </p:spPr>
        <p:txBody>
          <a:bodyPr>
            <a:spAutoFit/>
          </a:bodyPr>
          <a:lstStyle>
            <a:lvl1pPr>
              <a:defRPr sz="12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Department</a:t>
            </a:r>
          </a:p>
        </p:txBody>
      </p:sp>
      <p:sp>
        <p:nvSpPr>
          <p:cNvPr id="26" name="Textplatzhalter 8">
            <a:extLst>
              <a:ext uri="{FF2B5EF4-FFF2-40B4-BE49-F238E27FC236}">
                <a16:creationId xmlns:a16="http://schemas.microsoft.com/office/drawing/2014/main" id="{F52AEE9E-B08F-4C0A-BEEE-04C7FFB48E7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9" y="2872085"/>
            <a:ext cx="11157744" cy="738664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4800">
                <a:latin typeface="ZEISS Frutiger Next W1G"/>
                <a:cs typeface="ZEISS Frutiger Next W1G" panose="020B0503040204020203" pitchFamily="34" charset="0"/>
              </a:defRPr>
            </a:lvl1pPr>
          </a:lstStyle>
          <a:p>
            <a:pPr lvl="0"/>
            <a:r>
              <a:rPr lang="en-US" noProof="0" dirty="0"/>
              <a:t>Edit master text format</a:t>
            </a:r>
          </a:p>
        </p:txBody>
      </p:sp>
      <p:cxnSp>
        <p:nvCxnSpPr>
          <p:cNvPr id="55" name="Gerade Verbindung 22">
            <a:extLst>
              <a:ext uri="{FF2B5EF4-FFF2-40B4-BE49-F238E27FC236}">
                <a16:creationId xmlns:a16="http://schemas.microsoft.com/office/drawing/2014/main" id="{0FD81930-1AB6-453C-8CF7-2246B3482FB4}"/>
              </a:ext>
            </a:extLst>
          </p:cNvPr>
          <p:cNvCxnSpPr>
            <a:cxnSpLocks/>
          </p:cNvCxnSpPr>
          <p:nvPr/>
        </p:nvCxnSpPr>
        <p:spPr>
          <a:xfrm>
            <a:off x="5096108" y="4889103"/>
            <a:ext cx="4319998" cy="0"/>
          </a:xfrm>
          <a:prstGeom prst="line">
            <a:avLst/>
          </a:prstGeom>
          <a:ln w="6350">
            <a:solidFill>
              <a:srgbClr val="DCE3E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22">
            <a:extLst>
              <a:ext uri="{FF2B5EF4-FFF2-40B4-BE49-F238E27FC236}">
                <a16:creationId xmlns:a16="http://schemas.microsoft.com/office/drawing/2014/main" id="{F4D114BB-7210-400E-8A65-8B658E626712}"/>
              </a:ext>
            </a:extLst>
          </p:cNvPr>
          <p:cNvCxnSpPr>
            <a:cxnSpLocks/>
          </p:cNvCxnSpPr>
          <p:nvPr/>
        </p:nvCxnSpPr>
        <p:spPr>
          <a:xfrm>
            <a:off x="5096107" y="5577761"/>
            <a:ext cx="4319998" cy="0"/>
          </a:xfrm>
          <a:prstGeom prst="line">
            <a:avLst/>
          </a:prstGeom>
          <a:ln w="6350">
            <a:solidFill>
              <a:srgbClr val="DCE3E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22">
            <a:extLst>
              <a:ext uri="{FF2B5EF4-FFF2-40B4-BE49-F238E27FC236}">
                <a16:creationId xmlns:a16="http://schemas.microsoft.com/office/drawing/2014/main" id="{71C425F1-6606-4095-917F-0A5EABB8E022}"/>
              </a:ext>
            </a:extLst>
          </p:cNvPr>
          <p:cNvCxnSpPr>
            <a:cxnSpLocks/>
          </p:cNvCxnSpPr>
          <p:nvPr/>
        </p:nvCxnSpPr>
        <p:spPr>
          <a:xfrm>
            <a:off x="5096107" y="6093705"/>
            <a:ext cx="4319998" cy="0"/>
          </a:xfrm>
          <a:prstGeom prst="line">
            <a:avLst/>
          </a:prstGeom>
          <a:ln w="6350">
            <a:solidFill>
              <a:srgbClr val="D0D0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Gerade Verbindung 22">
            <a:extLst>
              <a:ext uri="{FF2B5EF4-FFF2-40B4-BE49-F238E27FC236}">
                <a16:creationId xmlns:a16="http://schemas.microsoft.com/office/drawing/2014/main" id="{929C78D0-9AC5-4AD0-BA80-D1DBD8376211}"/>
              </a:ext>
            </a:extLst>
          </p:cNvPr>
          <p:cNvCxnSpPr>
            <a:cxnSpLocks/>
          </p:cNvCxnSpPr>
          <p:nvPr/>
        </p:nvCxnSpPr>
        <p:spPr>
          <a:xfrm>
            <a:off x="5096107" y="6093705"/>
            <a:ext cx="4319998" cy="0"/>
          </a:xfrm>
          <a:prstGeom prst="line">
            <a:avLst/>
          </a:prstGeom>
          <a:ln w="6350">
            <a:solidFill>
              <a:srgbClr val="DCE3E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22">
            <a:extLst>
              <a:ext uri="{FF2B5EF4-FFF2-40B4-BE49-F238E27FC236}">
                <a16:creationId xmlns:a16="http://schemas.microsoft.com/office/drawing/2014/main" id="{B7AC5EDF-D9FB-40CE-BD44-B44AB9AF273D}"/>
              </a:ext>
            </a:extLst>
          </p:cNvPr>
          <p:cNvCxnSpPr>
            <a:cxnSpLocks/>
          </p:cNvCxnSpPr>
          <p:nvPr/>
        </p:nvCxnSpPr>
        <p:spPr>
          <a:xfrm>
            <a:off x="518318" y="4889103"/>
            <a:ext cx="4319998" cy="0"/>
          </a:xfrm>
          <a:prstGeom prst="line">
            <a:avLst/>
          </a:prstGeom>
          <a:ln w="6350">
            <a:solidFill>
              <a:srgbClr val="DCE3E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feld 2">
            <a:extLst>
              <a:ext uri="{FF2B5EF4-FFF2-40B4-BE49-F238E27FC236}">
                <a16:creationId xmlns:a16="http://schemas.microsoft.com/office/drawing/2014/main" id="{6B3858EA-1E2B-40BB-88B6-70384BC3466D}"/>
              </a:ext>
            </a:extLst>
          </p:cNvPr>
          <p:cNvSpPr txBox="1"/>
          <p:nvPr/>
        </p:nvSpPr>
        <p:spPr>
          <a:xfrm>
            <a:off x="518318" y="4965080"/>
            <a:ext cx="99298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anose="05000000000000000000" pitchFamily="2" charset="2"/>
              <a:buNone/>
              <a:tabLst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Target group:</a:t>
            </a:r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53F235B6-8F15-44AD-A35D-04C9940BCC70}"/>
              </a:ext>
            </a:extLst>
          </p:cNvPr>
          <p:cNvSpPr txBox="1"/>
          <p:nvPr/>
        </p:nvSpPr>
        <p:spPr>
          <a:xfrm>
            <a:off x="518318" y="5141291"/>
            <a:ext cx="89916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anose="05000000000000000000" pitchFamily="2" charset="2"/>
              <a:buNone/>
              <a:tabLst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Aim:</a:t>
            </a:r>
          </a:p>
        </p:txBody>
      </p:sp>
      <p:sp>
        <p:nvSpPr>
          <p:cNvPr id="56" name="Datumsplatzhalter 1">
            <a:extLst>
              <a:ext uri="{FF2B5EF4-FFF2-40B4-BE49-F238E27FC236}">
                <a16:creationId xmlns:a16="http://schemas.microsoft.com/office/drawing/2014/main" id="{9F0E4168-0E71-4DE7-8FF5-47D395861FDE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5096107" y="5651841"/>
            <a:ext cx="1133324" cy="184666"/>
          </a:xfrm>
        </p:spPr>
        <p:txBody>
          <a:bodyPr vert="horz" wrap="none" lIns="0" tIns="0" rIns="0" bIns="0" rtlCol="0" anchor="t" anchorCtr="0">
            <a:spAutoFit/>
          </a:bodyPr>
          <a:lstStyle>
            <a:lvl1pPr>
              <a:defRPr lang="de-DE" sz="1200" b="1" smtClean="0">
                <a:cs typeface="+mn-cs"/>
              </a:defRPr>
            </a:lvl1pPr>
          </a:lstStyle>
          <a:p>
            <a:pPr>
              <a:spcAft>
                <a:spcPts val="800"/>
              </a:spcAft>
              <a:buFont typeface="Arial" panose="020B0604020202020204" pitchFamily="34" charset="0"/>
              <a:buNone/>
            </a:pPr>
            <a:fld id="{EE86AD80-CE37-47B7-B7D4-6B2C63EE4712}" type="datetime3">
              <a:rPr lang="en-US" noProof="0" smtClean="0"/>
              <a:t>4 June 2025</a:t>
            </a:fld>
            <a:endParaRPr lang="en-US" noProof="0"/>
          </a:p>
        </p:txBody>
      </p:sp>
      <p:grpSp>
        <p:nvGrpSpPr>
          <p:cNvPr id="50" name="Gruppieren 49">
            <a:extLst>
              <a:ext uri="{FF2B5EF4-FFF2-40B4-BE49-F238E27FC236}">
                <a16:creationId xmlns:a16="http://schemas.microsoft.com/office/drawing/2014/main" id="{197CB04D-EB03-45CB-B5ED-4F864F8CEF1A}"/>
              </a:ext>
            </a:extLst>
          </p:cNvPr>
          <p:cNvGrpSpPr/>
          <p:nvPr/>
        </p:nvGrpSpPr>
        <p:grpSpPr>
          <a:xfrm>
            <a:off x="304116" y="-697714"/>
            <a:ext cx="11370764" cy="411957"/>
            <a:chOff x="304116" y="6944502"/>
            <a:chExt cx="11370764" cy="411957"/>
          </a:xfrm>
        </p:grpSpPr>
        <p:grpSp>
          <p:nvGrpSpPr>
            <p:cNvPr id="70" name="Gruppieren 69">
              <a:extLst>
                <a:ext uri="{FF2B5EF4-FFF2-40B4-BE49-F238E27FC236}">
                  <a16:creationId xmlns:a16="http://schemas.microsoft.com/office/drawing/2014/main" id="{1825A908-5668-4FCC-A100-BC0D20D54A24}"/>
                </a:ext>
              </a:extLst>
            </p:cNvPr>
            <p:cNvGrpSpPr/>
            <p:nvPr/>
          </p:nvGrpSpPr>
          <p:grpSpPr>
            <a:xfrm rot="16200000">
              <a:off x="204049" y="7044570"/>
              <a:ext cx="411956" cy="211821"/>
              <a:chOff x="-615197" y="4299854"/>
              <a:chExt cx="411956" cy="211821"/>
            </a:xfrm>
          </p:grpSpPr>
          <p:cxnSp>
            <p:nvCxnSpPr>
              <p:cNvPr id="82" name="Gerader Verbinder 81">
                <a:extLst>
                  <a:ext uri="{FF2B5EF4-FFF2-40B4-BE49-F238E27FC236}">
                    <a16:creationId xmlns:a16="http://schemas.microsoft.com/office/drawing/2014/main" id="{81BA1A91-05F1-42FA-BF4D-BBC54D312BA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3" name="Textfeld 82">
                <a:extLst>
                  <a:ext uri="{FF2B5EF4-FFF2-40B4-BE49-F238E27FC236}">
                    <a16:creationId xmlns:a16="http://schemas.microsoft.com/office/drawing/2014/main" id="{B6B2AE94-C69B-4568-A27F-BEDD90173A3A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15.50</a:t>
                </a:r>
              </a:p>
            </p:txBody>
          </p:sp>
        </p:grpSp>
        <p:grpSp>
          <p:nvGrpSpPr>
            <p:cNvPr id="71" name="Gruppieren 70">
              <a:extLst>
                <a:ext uri="{FF2B5EF4-FFF2-40B4-BE49-F238E27FC236}">
                  <a16:creationId xmlns:a16="http://schemas.microsoft.com/office/drawing/2014/main" id="{5EFE2106-BED2-47D0-9D8E-C0495EB5D869}"/>
                </a:ext>
              </a:extLst>
            </p:cNvPr>
            <p:cNvGrpSpPr/>
            <p:nvPr/>
          </p:nvGrpSpPr>
          <p:grpSpPr>
            <a:xfrm rot="16200000">
              <a:off x="5639649" y="7044570"/>
              <a:ext cx="411956" cy="211821"/>
              <a:chOff x="-615197" y="4299854"/>
              <a:chExt cx="411956" cy="211821"/>
            </a:xfrm>
          </p:grpSpPr>
          <p:cxnSp>
            <p:nvCxnSpPr>
              <p:cNvPr id="80" name="Gerader Verbinder 79">
                <a:extLst>
                  <a:ext uri="{FF2B5EF4-FFF2-40B4-BE49-F238E27FC236}">
                    <a16:creationId xmlns:a16="http://schemas.microsoft.com/office/drawing/2014/main" id="{018329BD-BC13-47EF-A9B8-BD503AC80AF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1" name="Textfeld 80">
                <a:extLst>
                  <a:ext uri="{FF2B5EF4-FFF2-40B4-BE49-F238E27FC236}">
                    <a16:creationId xmlns:a16="http://schemas.microsoft.com/office/drawing/2014/main" id="{82E7142B-12B0-4C92-9BB3-8C69CA5CAF18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0.40</a:t>
                </a:r>
              </a:p>
            </p:txBody>
          </p:sp>
        </p:grpSp>
        <p:grpSp>
          <p:nvGrpSpPr>
            <p:cNvPr id="73" name="Gruppieren 72">
              <a:extLst>
                <a:ext uri="{FF2B5EF4-FFF2-40B4-BE49-F238E27FC236}">
                  <a16:creationId xmlns:a16="http://schemas.microsoft.com/office/drawing/2014/main" id="{D98D8851-09B4-4E2B-A2C2-3C70638E0169}"/>
                </a:ext>
              </a:extLst>
            </p:cNvPr>
            <p:cNvGrpSpPr/>
            <p:nvPr/>
          </p:nvGrpSpPr>
          <p:grpSpPr>
            <a:xfrm rot="5400000">
              <a:off x="6093326" y="7046990"/>
              <a:ext cx="411956" cy="206980"/>
              <a:chOff x="-615197" y="4350961"/>
              <a:chExt cx="411956" cy="206980"/>
            </a:xfrm>
          </p:grpSpPr>
          <p:cxnSp>
            <p:nvCxnSpPr>
              <p:cNvPr id="78" name="Gerader Verbinder 77">
                <a:extLst>
                  <a:ext uri="{FF2B5EF4-FFF2-40B4-BE49-F238E27FC236}">
                    <a16:creationId xmlns:a16="http://schemas.microsoft.com/office/drawing/2014/main" id="{77FDBAA1-47D4-40F0-9083-A94E7DD209D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9" name="Textfeld 78">
                <a:extLst>
                  <a:ext uri="{FF2B5EF4-FFF2-40B4-BE49-F238E27FC236}">
                    <a16:creationId xmlns:a16="http://schemas.microsoft.com/office/drawing/2014/main" id="{54A061C5-07D5-47B1-AD25-766754C34C76}"/>
                  </a:ext>
                </a:extLst>
              </p:cNvPr>
              <p:cNvSpPr txBox="1"/>
              <p:nvPr/>
            </p:nvSpPr>
            <p:spPr>
              <a:xfrm rot="10800000">
                <a:off x="-615197" y="4350961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0.40</a:t>
                </a:r>
              </a:p>
            </p:txBody>
          </p:sp>
        </p:grpSp>
        <p:cxnSp>
          <p:nvCxnSpPr>
            <p:cNvPr id="74" name="Gerader Verbinder 73">
              <a:extLst>
                <a:ext uri="{FF2B5EF4-FFF2-40B4-BE49-F238E27FC236}">
                  <a16:creationId xmlns:a16="http://schemas.microsoft.com/office/drawing/2014/main" id="{40A82033-663D-427B-B57A-E808283C3B12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5890022" y="7150480"/>
              <a:ext cx="411956" cy="0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5" name="Gruppieren 74">
              <a:extLst>
                <a:ext uri="{FF2B5EF4-FFF2-40B4-BE49-F238E27FC236}">
                  <a16:creationId xmlns:a16="http://schemas.microsoft.com/office/drawing/2014/main" id="{7625F99E-EA5B-42C3-9774-3B1BE2E13F2B}"/>
                </a:ext>
              </a:extLst>
            </p:cNvPr>
            <p:cNvGrpSpPr/>
            <p:nvPr/>
          </p:nvGrpSpPr>
          <p:grpSpPr>
            <a:xfrm rot="16200000">
              <a:off x="11362992" y="7044570"/>
              <a:ext cx="411956" cy="211821"/>
              <a:chOff x="-615197" y="4299854"/>
              <a:chExt cx="411956" cy="211821"/>
            </a:xfrm>
          </p:grpSpPr>
          <p:cxnSp>
            <p:nvCxnSpPr>
              <p:cNvPr id="76" name="Gerader Verbinder 75">
                <a:extLst>
                  <a:ext uri="{FF2B5EF4-FFF2-40B4-BE49-F238E27FC236}">
                    <a16:creationId xmlns:a16="http://schemas.microsoft.com/office/drawing/2014/main" id="{390214D7-4A0E-4F8A-A246-02D7ABE3EDB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7" name="Textfeld 76">
                <a:extLst>
                  <a:ext uri="{FF2B5EF4-FFF2-40B4-BE49-F238E27FC236}">
                    <a16:creationId xmlns:a16="http://schemas.microsoft.com/office/drawing/2014/main" id="{06EDA3BB-7FDF-4EB3-B0C4-2FF49591D02F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15.50</a:t>
                </a:r>
              </a:p>
            </p:txBody>
          </p:sp>
        </p:grpSp>
      </p:grpSp>
      <p:grpSp>
        <p:nvGrpSpPr>
          <p:cNvPr id="84" name="Gruppieren 83">
            <a:extLst>
              <a:ext uri="{FF2B5EF4-FFF2-40B4-BE49-F238E27FC236}">
                <a16:creationId xmlns:a16="http://schemas.microsoft.com/office/drawing/2014/main" id="{C203BE44-20BC-422E-86CC-50B856F47C62}"/>
              </a:ext>
            </a:extLst>
          </p:cNvPr>
          <p:cNvGrpSpPr/>
          <p:nvPr/>
        </p:nvGrpSpPr>
        <p:grpSpPr>
          <a:xfrm>
            <a:off x="-697714" y="80201"/>
            <a:ext cx="411956" cy="6720119"/>
            <a:chOff x="-502267" y="80201"/>
            <a:chExt cx="411956" cy="6720119"/>
          </a:xfrm>
        </p:grpSpPr>
        <p:grpSp>
          <p:nvGrpSpPr>
            <p:cNvPr id="85" name="Gruppieren 84">
              <a:extLst>
                <a:ext uri="{FF2B5EF4-FFF2-40B4-BE49-F238E27FC236}">
                  <a16:creationId xmlns:a16="http://schemas.microsoft.com/office/drawing/2014/main" id="{6FC5383C-36BE-43CA-8AB9-7EAA13CB6DE2}"/>
                </a:ext>
              </a:extLst>
            </p:cNvPr>
            <p:cNvGrpSpPr/>
            <p:nvPr/>
          </p:nvGrpSpPr>
          <p:grpSpPr>
            <a:xfrm>
              <a:off x="-502267" y="6593340"/>
              <a:ext cx="411956" cy="206980"/>
              <a:chOff x="-615197" y="4452994"/>
              <a:chExt cx="411956" cy="206980"/>
            </a:xfrm>
          </p:grpSpPr>
          <p:sp>
            <p:nvSpPr>
              <p:cNvPr id="102" name="Textfeld 101">
                <a:extLst>
                  <a:ext uri="{FF2B5EF4-FFF2-40B4-BE49-F238E27FC236}">
                    <a16:creationId xmlns:a16="http://schemas.microsoft.com/office/drawing/2014/main" id="{9A4F1EBC-75E7-43C6-A6B7-4749726088E1}"/>
                  </a:ext>
                </a:extLst>
              </p:cNvPr>
              <p:cNvSpPr txBox="1"/>
              <p:nvPr/>
            </p:nvSpPr>
            <p:spPr>
              <a:xfrm>
                <a:off x="-615197" y="445299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8.92</a:t>
                </a:r>
              </a:p>
            </p:txBody>
          </p:sp>
          <p:cxnSp>
            <p:nvCxnSpPr>
              <p:cNvPr id="103" name="Gerader Verbinder 102">
                <a:extLst>
                  <a:ext uri="{FF2B5EF4-FFF2-40B4-BE49-F238E27FC236}">
                    <a16:creationId xmlns:a16="http://schemas.microsoft.com/office/drawing/2014/main" id="{4B3D592A-FC61-4B3C-A952-DFDC83DB228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97389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6" name="Gruppieren 85">
              <a:extLst>
                <a:ext uri="{FF2B5EF4-FFF2-40B4-BE49-F238E27FC236}">
                  <a16:creationId xmlns:a16="http://schemas.microsoft.com/office/drawing/2014/main" id="{E7444C6B-6250-4D01-8A89-DA16913C0C32}"/>
                </a:ext>
              </a:extLst>
            </p:cNvPr>
            <p:cNvGrpSpPr/>
            <p:nvPr/>
          </p:nvGrpSpPr>
          <p:grpSpPr>
            <a:xfrm>
              <a:off x="-502267" y="5876163"/>
              <a:ext cx="411956" cy="216662"/>
              <a:chOff x="-615197" y="4295013"/>
              <a:chExt cx="411956" cy="216662"/>
            </a:xfrm>
          </p:grpSpPr>
          <p:cxnSp>
            <p:nvCxnSpPr>
              <p:cNvPr id="100" name="Gerader Verbinder 99">
                <a:extLst>
                  <a:ext uri="{FF2B5EF4-FFF2-40B4-BE49-F238E27FC236}">
                    <a16:creationId xmlns:a16="http://schemas.microsoft.com/office/drawing/2014/main" id="{CA2B90C5-F226-4AFD-BFCD-5312226E19D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1" name="Textfeld 100">
                <a:extLst>
                  <a:ext uri="{FF2B5EF4-FFF2-40B4-BE49-F238E27FC236}">
                    <a16:creationId xmlns:a16="http://schemas.microsoft.com/office/drawing/2014/main" id="{842137F8-F2FA-45E7-85B0-4E1DCD534ADE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7.40</a:t>
                </a:r>
              </a:p>
            </p:txBody>
          </p:sp>
        </p:grpSp>
        <p:grpSp>
          <p:nvGrpSpPr>
            <p:cNvPr id="87" name="Gruppieren 86">
              <a:extLst>
                <a:ext uri="{FF2B5EF4-FFF2-40B4-BE49-F238E27FC236}">
                  <a16:creationId xmlns:a16="http://schemas.microsoft.com/office/drawing/2014/main" id="{771FDBE6-C21F-4BE0-B850-D27613A73112}"/>
                </a:ext>
              </a:extLst>
            </p:cNvPr>
            <p:cNvGrpSpPr/>
            <p:nvPr/>
          </p:nvGrpSpPr>
          <p:grpSpPr>
            <a:xfrm>
              <a:off x="-502267" y="3212338"/>
              <a:ext cx="411956" cy="216662"/>
              <a:chOff x="-615197" y="4295013"/>
              <a:chExt cx="411956" cy="216662"/>
            </a:xfrm>
          </p:grpSpPr>
          <p:cxnSp>
            <p:nvCxnSpPr>
              <p:cNvPr id="98" name="Gerader Verbinder 97">
                <a:extLst>
                  <a:ext uri="{FF2B5EF4-FFF2-40B4-BE49-F238E27FC236}">
                    <a16:creationId xmlns:a16="http://schemas.microsoft.com/office/drawing/2014/main" id="{AD253D29-75C6-4AD6-A06B-C72F694BE3E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9" name="Textfeld 98">
                <a:extLst>
                  <a:ext uri="{FF2B5EF4-FFF2-40B4-BE49-F238E27FC236}">
                    <a16:creationId xmlns:a16="http://schemas.microsoft.com/office/drawing/2014/main" id="{8EA52A1E-D0A2-4E2F-AAB2-98D71C586BF1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0.00</a:t>
                </a:r>
              </a:p>
            </p:txBody>
          </p:sp>
        </p:grpSp>
        <p:grpSp>
          <p:nvGrpSpPr>
            <p:cNvPr id="88" name="Gruppieren 87">
              <a:extLst>
                <a:ext uri="{FF2B5EF4-FFF2-40B4-BE49-F238E27FC236}">
                  <a16:creationId xmlns:a16="http://schemas.microsoft.com/office/drawing/2014/main" id="{9AB4F67F-64D7-474E-B413-C83E9F21029F}"/>
                </a:ext>
              </a:extLst>
            </p:cNvPr>
            <p:cNvGrpSpPr/>
            <p:nvPr/>
          </p:nvGrpSpPr>
          <p:grpSpPr>
            <a:xfrm>
              <a:off x="-502267" y="835851"/>
              <a:ext cx="411956" cy="216662"/>
              <a:chOff x="-615197" y="4295013"/>
              <a:chExt cx="411956" cy="216662"/>
            </a:xfrm>
          </p:grpSpPr>
          <p:cxnSp>
            <p:nvCxnSpPr>
              <p:cNvPr id="96" name="Gerader Verbinder 95">
                <a:extLst>
                  <a:ext uri="{FF2B5EF4-FFF2-40B4-BE49-F238E27FC236}">
                    <a16:creationId xmlns:a16="http://schemas.microsoft.com/office/drawing/2014/main" id="{B7483F8C-A580-48CB-BE06-89818DD9F50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7" name="Textfeld 96">
                <a:extLst>
                  <a:ext uri="{FF2B5EF4-FFF2-40B4-BE49-F238E27FC236}">
                    <a16:creationId xmlns:a16="http://schemas.microsoft.com/office/drawing/2014/main" id="{43955F50-23D0-4D24-BA2A-46F8E788D6A4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6.60</a:t>
                </a:r>
              </a:p>
            </p:txBody>
          </p:sp>
        </p:grpSp>
        <p:grpSp>
          <p:nvGrpSpPr>
            <p:cNvPr id="90" name="Gruppieren 89">
              <a:extLst>
                <a:ext uri="{FF2B5EF4-FFF2-40B4-BE49-F238E27FC236}">
                  <a16:creationId xmlns:a16="http://schemas.microsoft.com/office/drawing/2014/main" id="{94385E51-B4C0-45BC-8006-98B8786A4E9B}"/>
                </a:ext>
              </a:extLst>
            </p:cNvPr>
            <p:cNvGrpSpPr/>
            <p:nvPr/>
          </p:nvGrpSpPr>
          <p:grpSpPr>
            <a:xfrm>
              <a:off x="-502267" y="1412113"/>
              <a:ext cx="411956" cy="216662"/>
              <a:chOff x="-615197" y="4295013"/>
              <a:chExt cx="411956" cy="216662"/>
            </a:xfrm>
          </p:grpSpPr>
          <p:cxnSp>
            <p:nvCxnSpPr>
              <p:cNvPr id="94" name="Gerader Verbinder 93">
                <a:extLst>
                  <a:ext uri="{FF2B5EF4-FFF2-40B4-BE49-F238E27FC236}">
                    <a16:creationId xmlns:a16="http://schemas.microsoft.com/office/drawing/2014/main" id="{80F02DC6-849F-4FC9-BD2A-E11A971C896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5" name="Textfeld 94">
                <a:extLst>
                  <a:ext uri="{FF2B5EF4-FFF2-40B4-BE49-F238E27FC236}">
                    <a16:creationId xmlns:a16="http://schemas.microsoft.com/office/drawing/2014/main" id="{F691D9FE-321B-4757-8833-4C1486E2ACE4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5.00</a:t>
                </a:r>
              </a:p>
            </p:txBody>
          </p:sp>
        </p:grpSp>
        <p:grpSp>
          <p:nvGrpSpPr>
            <p:cNvPr id="91" name="Gruppieren 90">
              <a:extLst>
                <a:ext uri="{FF2B5EF4-FFF2-40B4-BE49-F238E27FC236}">
                  <a16:creationId xmlns:a16="http://schemas.microsoft.com/office/drawing/2014/main" id="{F65E64C0-5B88-4D87-87BA-C8544561D5FA}"/>
                </a:ext>
              </a:extLst>
            </p:cNvPr>
            <p:cNvGrpSpPr/>
            <p:nvPr/>
          </p:nvGrpSpPr>
          <p:grpSpPr>
            <a:xfrm>
              <a:off x="-502267" y="80201"/>
              <a:ext cx="411956" cy="216662"/>
              <a:chOff x="-615197" y="4258501"/>
              <a:chExt cx="411956" cy="216662"/>
            </a:xfrm>
          </p:grpSpPr>
          <p:cxnSp>
            <p:nvCxnSpPr>
              <p:cNvPr id="92" name="Gerader Verbinder 91">
                <a:extLst>
                  <a:ext uri="{FF2B5EF4-FFF2-40B4-BE49-F238E27FC236}">
                    <a16:creationId xmlns:a16="http://schemas.microsoft.com/office/drawing/2014/main" id="{4E2B5B48-42C6-4A19-9830-0D8B38F3120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75163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3" name="Textfeld 92">
                <a:extLst>
                  <a:ext uri="{FF2B5EF4-FFF2-40B4-BE49-F238E27FC236}">
                    <a16:creationId xmlns:a16="http://schemas.microsoft.com/office/drawing/2014/main" id="{649F6612-E782-4C70-82BB-EF318CC77383}"/>
                  </a:ext>
                </a:extLst>
              </p:cNvPr>
              <p:cNvSpPr txBox="1"/>
              <p:nvPr/>
            </p:nvSpPr>
            <p:spPr>
              <a:xfrm>
                <a:off x="-615197" y="4258501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8.70</a:t>
                </a:r>
              </a:p>
            </p:txBody>
          </p:sp>
        </p:grpSp>
      </p:grp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2797D5D3-2003-3097-3D7F-F396ECC8D3E3}"/>
              </a:ext>
            </a:extLst>
          </p:cNvPr>
          <p:cNvGrpSpPr/>
          <p:nvPr/>
        </p:nvGrpSpPr>
        <p:grpSpPr>
          <a:xfrm>
            <a:off x="11170442" y="299244"/>
            <a:ext cx="505400" cy="505400"/>
            <a:chOff x="5423248" y="2756248"/>
            <a:chExt cx="1349978" cy="1349978"/>
          </a:xfrm>
        </p:grpSpPr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59044078-6E49-5F9F-6BE8-DD13448E62A8}"/>
                </a:ext>
              </a:extLst>
            </p:cNvPr>
            <p:cNvSpPr/>
            <p:nvPr/>
          </p:nvSpPr>
          <p:spPr>
            <a:xfrm>
              <a:off x="5423248" y="2756248"/>
              <a:ext cx="1349978" cy="1349978"/>
            </a:xfrm>
            <a:custGeom>
              <a:avLst/>
              <a:gdLst>
                <a:gd name="connsiteX0" fmla="*/ 1349788 w 1349978"/>
                <a:gd name="connsiteY0" fmla="*/ 1349978 h 1349978"/>
                <a:gd name="connsiteX1" fmla="*/ 675037 w 1349978"/>
                <a:gd name="connsiteY1" fmla="*/ 1205389 h 1349978"/>
                <a:gd name="connsiteX2" fmla="*/ 0 w 1349978"/>
                <a:gd name="connsiteY2" fmla="*/ 1349978 h 1349978"/>
                <a:gd name="connsiteX3" fmla="*/ 0 w 1349978"/>
                <a:gd name="connsiteY3" fmla="*/ 0 h 1349978"/>
                <a:gd name="connsiteX4" fmla="*/ 1349978 w 1349978"/>
                <a:gd name="connsiteY4" fmla="*/ 0 h 1349978"/>
                <a:gd name="connsiteX5" fmla="*/ 1349788 w 1349978"/>
                <a:gd name="connsiteY5" fmla="*/ 1349978 h 1349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49978" h="1349978">
                  <a:moveTo>
                    <a:pt x="1349788" y="1349978"/>
                  </a:moveTo>
                  <a:cubicBezTo>
                    <a:pt x="1143953" y="1257110"/>
                    <a:pt x="915543" y="1205389"/>
                    <a:pt x="675037" y="1205389"/>
                  </a:cubicBezTo>
                  <a:cubicBezTo>
                    <a:pt x="434530" y="1205389"/>
                    <a:pt x="205835" y="1257110"/>
                    <a:pt x="0" y="1349978"/>
                  </a:cubicBezTo>
                  <a:lnTo>
                    <a:pt x="0" y="0"/>
                  </a:lnTo>
                  <a:lnTo>
                    <a:pt x="1349978" y="0"/>
                  </a:lnTo>
                  <a:lnTo>
                    <a:pt x="1349788" y="1349978"/>
                  </a:lnTo>
                  <a:close/>
                </a:path>
              </a:pathLst>
            </a:custGeom>
            <a:solidFill>
              <a:srgbClr val="0F2D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7" name="Grafik 31">
              <a:extLst>
                <a:ext uri="{FF2B5EF4-FFF2-40B4-BE49-F238E27FC236}">
                  <a16:creationId xmlns:a16="http://schemas.microsoft.com/office/drawing/2014/main" id="{4B3620B8-3E56-5333-8640-F5D1C0C2386E}"/>
                </a:ext>
              </a:extLst>
            </p:cNvPr>
            <p:cNvGrpSpPr/>
            <p:nvPr/>
          </p:nvGrpSpPr>
          <p:grpSpPr>
            <a:xfrm>
              <a:off x="5474985" y="3134295"/>
              <a:ext cx="1244293" cy="294132"/>
              <a:chOff x="5474985" y="3134295"/>
              <a:chExt cx="1244293" cy="294132"/>
            </a:xfrm>
            <a:solidFill>
              <a:srgbClr val="FFFFFF"/>
            </a:solidFill>
          </p:grpSpPr>
          <p:sp>
            <p:nvSpPr>
              <p:cNvPr id="8" name="Freihandform: Form 7">
                <a:extLst>
                  <a:ext uri="{FF2B5EF4-FFF2-40B4-BE49-F238E27FC236}">
                    <a16:creationId xmlns:a16="http://schemas.microsoft.com/office/drawing/2014/main" id="{6B95BC56-EC85-713C-1890-6001DE35D156}"/>
                  </a:ext>
                </a:extLst>
              </p:cNvPr>
              <p:cNvSpPr/>
              <p:nvPr/>
            </p:nvSpPr>
            <p:spPr>
              <a:xfrm>
                <a:off x="5474985" y="3134295"/>
                <a:ext cx="247353" cy="293941"/>
              </a:xfrm>
              <a:custGeom>
                <a:avLst/>
                <a:gdLst>
                  <a:gd name="connsiteX0" fmla="*/ 109998 w 247353"/>
                  <a:gd name="connsiteY0" fmla="*/ 30956 h 293941"/>
                  <a:gd name="connsiteX1" fmla="*/ 41418 w 247353"/>
                  <a:gd name="connsiteY1" fmla="*/ 95250 h 293941"/>
                  <a:gd name="connsiteX2" fmla="*/ 11129 w 247353"/>
                  <a:gd name="connsiteY2" fmla="*/ 95250 h 293941"/>
                  <a:gd name="connsiteX3" fmla="*/ 11129 w 247353"/>
                  <a:gd name="connsiteY3" fmla="*/ 0 h 293941"/>
                  <a:gd name="connsiteX4" fmla="*/ 247349 w 247353"/>
                  <a:gd name="connsiteY4" fmla="*/ 0 h 293941"/>
                  <a:gd name="connsiteX5" fmla="*/ 179340 w 247353"/>
                  <a:gd name="connsiteY5" fmla="*/ 151733 h 293941"/>
                  <a:gd name="connsiteX6" fmla="*/ 111141 w 247353"/>
                  <a:gd name="connsiteY6" fmla="*/ 262795 h 293941"/>
                  <a:gd name="connsiteX7" fmla="*/ 149432 w 247353"/>
                  <a:gd name="connsiteY7" fmla="*/ 262795 h 293941"/>
                  <a:gd name="connsiteX8" fmla="*/ 210011 w 247353"/>
                  <a:gd name="connsiteY8" fmla="*/ 198501 h 293941"/>
                  <a:gd name="connsiteX9" fmla="*/ 241634 w 247353"/>
                  <a:gd name="connsiteY9" fmla="*/ 198501 h 293941"/>
                  <a:gd name="connsiteX10" fmla="*/ 241634 w 247353"/>
                  <a:gd name="connsiteY10" fmla="*/ 293942 h 293941"/>
                  <a:gd name="connsiteX11" fmla="*/ 270 w 247353"/>
                  <a:gd name="connsiteY11" fmla="*/ 293942 h 293941"/>
                  <a:gd name="connsiteX12" fmla="*/ 75137 w 247353"/>
                  <a:gd name="connsiteY12" fmla="*/ 133731 h 293941"/>
                  <a:gd name="connsiteX13" fmla="*/ 138573 w 247353"/>
                  <a:gd name="connsiteY13" fmla="*/ 30671 h 293941"/>
                  <a:gd name="connsiteX14" fmla="*/ 109998 w 247353"/>
                  <a:gd name="connsiteY14" fmla="*/ 30861 h 2939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47353" h="293941">
                    <a:moveTo>
                      <a:pt x="109998" y="30956"/>
                    </a:moveTo>
                    <a:cubicBezTo>
                      <a:pt x="46562" y="30956"/>
                      <a:pt x="41418" y="95250"/>
                      <a:pt x="41418" y="95250"/>
                    </a:cubicBezTo>
                    <a:lnTo>
                      <a:pt x="11129" y="95250"/>
                    </a:lnTo>
                    <a:lnTo>
                      <a:pt x="11129" y="0"/>
                    </a:lnTo>
                    <a:lnTo>
                      <a:pt x="247349" y="0"/>
                    </a:lnTo>
                    <a:cubicBezTo>
                      <a:pt x="247349" y="0"/>
                      <a:pt x="249254" y="73628"/>
                      <a:pt x="179340" y="151733"/>
                    </a:cubicBezTo>
                    <a:cubicBezTo>
                      <a:pt x="179340" y="151733"/>
                      <a:pt x="112856" y="228981"/>
                      <a:pt x="111141" y="262795"/>
                    </a:cubicBezTo>
                    <a:lnTo>
                      <a:pt x="149432" y="262795"/>
                    </a:lnTo>
                    <a:cubicBezTo>
                      <a:pt x="204391" y="262795"/>
                      <a:pt x="210011" y="198501"/>
                      <a:pt x="210011" y="198501"/>
                    </a:cubicBezTo>
                    <a:lnTo>
                      <a:pt x="241634" y="198501"/>
                    </a:lnTo>
                    <a:lnTo>
                      <a:pt x="241634" y="293942"/>
                    </a:lnTo>
                    <a:lnTo>
                      <a:pt x="270" y="293942"/>
                    </a:lnTo>
                    <a:cubicBezTo>
                      <a:pt x="270" y="293942"/>
                      <a:pt x="-8588" y="221647"/>
                      <a:pt x="75137" y="133731"/>
                    </a:cubicBezTo>
                    <a:cubicBezTo>
                      <a:pt x="75137" y="133731"/>
                      <a:pt x="126667" y="76200"/>
                      <a:pt x="138573" y="30671"/>
                    </a:cubicBezTo>
                    <a:lnTo>
                      <a:pt x="109998" y="30861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" name="Freihandform: Form 8">
                <a:extLst>
                  <a:ext uri="{FF2B5EF4-FFF2-40B4-BE49-F238E27FC236}">
                    <a16:creationId xmlns:a16="http://schemas.microsoft.com/office/drawing/2014/main" id="{54B7EEA8-DA54-FA3B-9CE1-7432DE066A28}"/>
                  </a:ext>
                </a:extLst>
              </p:cNvPr>
              <p:cNvSpPr/>
              <p:nvPr/>
            </p:nvSpPr>
            <p:spPr>
              <a:xfrm>
                <a:off x="6030181" y="3134295"/>
                <a:ext cx="156495" cy="293750"/>
              </a:xfrm>
              <a:custGeom>
                <a:avLst/>
                <a:gdLst>
                  <a:gd name="connsiteX0" fmla="*/ 156496 w 156495"/>
                  <a:gd name="connsiteY0" fmla="*/ 293751 h 293750"/>
                  <a:gd name="connsiteX1" fmla="*/ 156496 w 156495"/>
                  <a:gd name="connsiteY1" fmla="*/ 262604 h 293750"/>
                  <a:gd name="connsiteX2" fmla="*/ 149352 w 156495"/>
                  <a:gd name="connsiteY2" fmla="*/ 262604 h 293750"/>
                  <a:gd name="connsiteX3" fmla="*/ 125730 w 156495"/>
                  <a:gd name="connsiteY3" fmla="*/ 238982 h 293750"/>
                  <a:gd name="connsiteX4" fmla="*/ 125730 w 156495"/>
                  <a:gd name="connsiteY4" fmla="*/ 54769 h 293750"/>
                  <a:gd name="connsiteX5" fmla="*/ 149352 w 156495"/>
                  <a:gd name="connsiteY5" fmla="*/ 31147 h 293750"/>
                  <a:gd name="connsiteX6" fmla="*/ 156496 w 156495"/>
                  <a:gd name="connsiteY6" fmla="*/ 31147 h 293750"/>
                  <a:gd name="connsiteX7" fmla="*/ 156496 w 156495"/>
                  <a:gd name="connsiteY7" fmla="*/ 0 h 293750"/>
                  <a:gd name="connsiteX8" fmla="*/ 0 w 156495"/>
                  <a:gd name="connsiteY8" fmla="*/ 0 h 293750"/>
                  <a:gd name="connsiteX9" fmla="*/ 0 w 156495"/>
                  <a:gd name="connsiteY9" fmla="*/ 31147 h 293750"/>
                  <a:gd name="connsiteX10" fmla="*/ 7144 w 156495"/>
                  <a:gd name="connsiteY10" fmla="*/ 31147 h 293750"/>
                  <a:gd name="connsiteX11" fmla="*/ 30956 w 156495"/>
                  <a:gd name="connsiteY11" fmla="*/ 54769 h 293750"/>
                  <a:gd name="connsiteX12" fmla="*/ 30956 w 156495"/>
                  <a:gd name="connsiteY12" fmla="*/ 238982 h 293750"/>
                  <a:gd name="connsiteX13" fmla="*/ 7144 w 156495"/>
                  <a:gd name="connsiteY13" fmla="*/ 262604 h 293750"/>
                  <a:gd name="connsiteX14" fmla="*/ 0 w 156495"/>
                  <a:gd name="connsiteY14" fmla="*/ 262604 h 293750"/>
                  <a:gd name="connsiteX15" fmla="*/ 0 w 156495"/>
                  <a:gd name="connsiteY15" fmla="*/ 293751 h 293750"/>
                  <a:gd name="connsiteX16" fmla="*/ 156496 w 156495"/>
                  <a:gd name="connsiteY16" fmla="*/ 293751 h 293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56495" h="293750">
                    <a:moveTo>
                      <a:pt x="156496" y="293751"/>
                    </a:moveTo>
                    <a:lnTo>
                      <a:pt x="156496" y="262604"/>
                    </a:lnTo>
                    <a:lnTo>
                      <a:pt x="149352" y="262604"/>
                    </a:lnTo>
                    <a:cubicBezTo>
                      <a:pt x="136398" y="262604"/>
                      <a:pt x="125730" y="251936"/>
                      <a:pt x="125730" y="238982"/>
                    </a:cubicBezTo>
                    <a:lnTo>
                      <a:pt x="125730" y="54769"/>
                    </a:lnTo>
                    <a:cubicBezTo>
                      <a:pt x="125730" y="41815"/>
                      <a:pt x="136303" y="31147"/>
                      <a:pt x="149352" y="31147"/>
                    </a:cubicBezTo>
                    <a:lnTo>
                      <a:pt x="156496" y="31147"/>
                    </a:lnTo>
                    <a:lnTo>
                      <a:pt x="156496" y="0"/>
                    </a:lnTo>
                    <a:lnTo>
                      <a:pt x="0" y="0"/>
                    </a:lnTo>
                    <a:lnTo>
                      <a:pt x="0" y="31147"/>
                    </a:lnTo>
                    <a:lnTo>
                      <a:pt x="7144" y="31147"/>
                    </a:lnTo>
                    <a:cubicBezTo>
                      <a:pt x="20383" y="31147"/>
                      <a:pt x="30956" y="41720"/>
                      <a:pt x="30956" y="54769"/>
                    </a:cubicBezTo>
                    <a:lnTo>
                      <a:pt x="30956" y="238982"/>
                    </a:lnTo>
                    <a:cubicBezTo>
                      <a:pt x="30956" y="251936"/>
                      <a:pt x="20383" y="262604"/>
                      <a:pt x="7144" y="262604"/>
                    </a:cubicBezTo>
                    <a:lnTo>
                      <a:pt x="0" y="262604"/>
                    </a:lnTo>
                    <a:lnTo>
                      <a:pt x="0" y="293751"/>
                    </a:lnTo>
                    <a:lnTo>
                      <a:pt x="156496" y="293751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" name="Freihandform: Form 9">
                <a:extLst>
                  <a:ext uri="{FF2B5EF4-FFF2-40B4-BE49-F238E27FC236}">
                    <a16:creationId xmlns:a16="http://schemas.microsoft.com/office/drawing/2014/main" id="{5ACC38BF-BCA3-00EC-5983-41EF6AECC1ED}"/>
                  </a:ext>
                </a:extLst>
              </p:cNvPr>
              <p:cNvSpPr/>
              <p:nvPr/>
            </p:nvSpPr>
            <p:spPr>
              <a:xfrm>
                <a:off x="5748718" y="3134295"/>
                <a:ext cx="248983" cy="294132"/>
              </a:xfrm>
              <a:custGeom>
                <a:avLst/>
                <a:gdLst>
                  <a:gd name="connsiteX0" fmla="*/ 248983 w 248983"/>
                  <a:gd name="connsiteY0" fmla="*/ 294037 h 294132"/>
                  <a:gd name="connsiteX1" fmla="*/ 248983 w 248983"/>
                  <a:gd name="connsiteY1" fmla="*/ 198596 h 294132"/>
                  <a:gd name="connsiteX2" fmla="*/ 217361 w 248983"/>
                  <a:gd name="connsiteY2" fmla="*/ 198596 h 294132"/>
                  <a:gd name="connsiteX3" fmla="*/ 156496 w 248983"/>
                  <a:gd name="connsiteY3" fmla="*/ 262890 h 294132"/>
                  <a:gd name="connsiteX4" fmla="*/ 124873 w 248983"/>
                  <a:gd name="connsiteY4" fmla="*/ 262890 h 294132"/>
                  <a:gd name="connsiteX5" fmla="*/ 124873 w 248983"/>
                  <a:gd name="connsiteY5" fmla="*/ 162687 h 294132"/>
                  <a:gd name="connsiteX6" fmla="*/ 136112 w 248983"/>
                  <a:gd name="connsiteY6" fmla="*/ 162687 h 294132"/>
                  <a:gd name="connsiteX7" fmla="*/ 159925 w 248983"/>
                  <a:gd name="connsiteY7" fmla="*/ 186500 h 294132"/>
                  <a:gd name="connsiteX8" fmla="*/ 159925 w 248983"/>
                  <a:gd name="connsiteY8" fmla="*/ 198406 h 294132"/>
                  <a:gd name="connsiteX9" fmla="*/ 191071 w 248983"/>
                  <a:gd name="connsiteY9" fmla="*/ 198406 h 294132"/>
                  <a:gd name="connsiteX10" fmla="*/ 191071 w 248983"/>
                  <a:gd name="connsiteY10" fmla="*/ 95631 h 294132"/>
                  <a:gd name="connsiteX11" fmla="*/ 159925 w 248983"/>
                  <a:gd name="connsiteY11" fmla="*/ 95631 h 294132"/>
                  <a:gd name="connsiteX12" fmla="*/ 159925 w 248983"/>
                  <a:gd name="connsiteY12" fmla="*/ 107537 h 294132"/>
                  <a:gd name="connsiteX13" fmla="*/ 136112 w 248983"/>
                  <a:gd name="connsiteY13" fmla="*/ 131350 h 294132"/>
                  <a:gd name="connsiteX14" fmla="*/ 124873 w 248983"/>
                  <a:gd name="connsiteY14" fmla="*/ 131350 h 294132"/>
                  <a:gd name="connsiteX15" fmla="*/ 124873 w 248983"/>
                  <a:gd name="connsiteY15" fmla="*/ 31147 h 294132"/>
                  <a:gd name="connsiteX16" fmla="*/ 156496 w 248983"/>
                  <a:gd name="connsiteY16" fmla="*/ 31147 h 294132"/>
                  <a:gd name="connsiteX17" fmla="*/ 217361 w 248983"/>
                  <a:gd name="connsiteY17" fmla="*/ 95441 h 294132"/>
                  <a:gd name="connsiteX18" fmla="*/ 248983 w 248983"/>
                  <a:gd name="connsiteY18" fmla="*/ 95441 h 294132"/>
                  <a:gd name="connsiteX19" fmla="*/ 248983 w 248983"/>
                  <a:gd name="connsiteY19" fmla="*/ 0 h 294132"/>
                  <a:gd name="connsiteX20" fmla="*/ 0 w 248983"/>
                  <a:gd name="connsiteY20" fmla="*/ 0 h 294132"/>
                  <a:gd name="connsiteX21" fmla="*/ 0 w 248983"/>
                  <a:gd name="connsiteY21" fmla="*/ 31337 h 294132"/>
                  <a:gd name="connsiteX22" fmla="*/ 7144 w 248983"/>
                  <a:gd name="connsiteY22" fmla="*/ 31337 h 294132"/>
                  <a:gd name="connsiteX23" fmla="*/ 30766 w 248983"/>
                  <a:gd name="connsiteY23" fmla="*/ 54959 h 294132"/>
                  <a:gd name="connsiteX24" fmla="*/ 30766 w 248983"/>
                  <a:gd name="connsiteY24" fmla="*/ 239173 h 294132"/>
                  <a:gd name="connsiteX25" fmla="*/ 7144 w 248983"/>
                  <a:gd name="connsiteY25" fmla="*/ 262795 h 294132"/>
                  <a:gd name="connsiteX26" fmla="*/ 0 w 248983"/>
                  <a:gd name="connsiteY26" fmla="*/ 262795 h 294132"/>
                  <a:gd name="connsiteX27" fmla="*/ 0 w 248983"/>
                  <a:gd name="connsiteY27" fmla="*/ 293942 h 294132"/>
                  <a:gd name="connsiteX28" fmla="*/ 248983 w 248983"/>
                  <a:gd name="connsiteY28" fmla="*/ 294132 h 294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248983" h="294132">
                    <a:moveTo>
                      <a:pt x="248983" y="294037"/>
                    </a:moveTo>
                    <a:lnTo>
                      <a:pt x="248983" y="198596"/>
                    </a:lnTo>
                    <a:lnTo>
                      <a:pt x="217361" y="198596"/>
                    </a:lnTo>
                    <a:cubicBezTo>
                      <a:pt x="217361" y="198596"/>
                      <a:pt x="211550" y="262890"/>
                      <a:pt x="156496" y="262890"/>
                    </a:cubicBezTo>
                    <a:lnTo>
                      <a:pt x="124873" y="262890"/>
                    </a:lnTo>
                    <a:lnTo>
                      <a:pt x="124873" y="162687"/>
                    </a:lnTo>
                    <a:lnTo>
                      <a:pt x="136112" y="162687"/>
                    </a:lnTo>
                    <a:cubicBezTo>
                      <a:pt x="149352" y="162687"/>
                      <a:pt x="159925" y="173355"/>
                      <a:pt x="159925" y="186500"/>
                    </a:cubicBezTo>
                    <a:lnTo>
                      <a:pt x="159925" y="198406"/>
                    </a:lnTo>
                    <a:lnTo>
                      <a:pt x="191071" y="198406"/>
                    </a:lnTo>
                    <a:lnTo>
                      <a:pt x="191071" y="95631"/>
                    </a:lnTo>
                    <a:lnTo>
                      <a:pt x="159925" y="95631"/>
                    </a:lnTo>
                    <a:lnTo>
                      <a:pt x="159925" y="107537"/>
                    </a:lnTo>
                    <a:cubicBezTo>
                      <a:pt x="159925" y="120777"/>
                      <a:pt x="149352" y="131350"/>
                      <a:pt x="136112" y="131350"/>
                    </a:cubicBezTo>
                    <a:lnTo>
                      <a:pt x="124873" y="131350"/>
                    </a:lnTo>
                    <a:lnTo>
                      <a:pt x="124873" y="31147"/>
                    </a:lnTo>
                    <a:lnTo>
                      <a:pt x="156496" y="31147"/>
                    </a:lnTo>
                    <a:cubicBezTo>
                      <a:pt x="211455" y="31147"/>
                      <a:pt x="217361" y="95441"/>
                      <a:pt x="217361" y="95441"/>
                    </a:cubicBezTo>
                    <a:lnTo>
                      <a:pt x="248983" y="95441"/>
                    </a:lnTo>
                    <a:lnTo>
                      <a:pt x="248983" y="0"/>
                    </a:lnTo>
                    <a:lnTo>
                      <a:pt x="0" y="0"/>
                    </a:lnTo>
                    <a:lnTo>
                      <a:pt x="0" y="31337"/>
                    </a:lnTo>
                    <a:lnTo>
                      <a:pt x="7144" y="31337"/>
                    </a:lnTo>
                    <a:cubicBezTo>
                      <a:pt x="20098" y="31337"/>
                      <a:pt x="30766" y="42005"/>
                      <a:pt x="30766" y="54959"/>
                    </a:cubicBezTo>
                    <a:lnTo>
                      <a:pt x="30766" y="239173"/>
                    </a:lnTo>
                    <a:cubicBezTo>
                      <a:pt x="30766" y="252127"/>
                      <a:pt x="20193" y="262795"/>
                      <a:pt x="7144" y="262795"/>
                    </a:cubicBezTo>
                    <a:lnTo>
                      <a:pt x="0" y="262795"/>
                    </a:lnTo>
                    <a:lnTo>
                      <a:pt x="0" y="293942"/>
                    </a:lnTo>
                    <a:lnTo>
                      <a:pt x="248983" y="294132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" name="Freihandform: Form 10">
                <a:extLst>
                  <a:ext uri="{FF2B5EF4-FFF2-40B4-BE49-F238E27FC236}">
                    <a16:creationId xmlns:a16="http://schemas.microsoft.com/office/drawing/2014/main" id="{C5B24ACC-750B-FFE6-3712-6B8A425B8F43}"/>
                  </a:ext>
                </a:extLst>
              </p:cNvPr>
              <p:cNvSpPr/>
              <p:nvPr/>
            </p:nvSpPr>
            <p:spPr>
              <a:xfrm>
                <a:off x="6217588" y="3134295"/>
                <a:ext cx="237562" cy="293941"/>
              </a:xfrm>
              <a:custGeom>
                <a:avLst/>
                <a:gdLst>
                  <a:gd name="connsiteX0" fmla="*/ 133586 w 237562"/>
                  <a:gd name="connsiteY0" fmla="*/ 30956 h 293941"/>
                  <a:gd name="connsiteX1" fmla="*/ 201976 w 237562"/>
                  <a:gd name="connsiteY1" fmla="*/ 95250 h 293941"/>
                  <a:gd name="connsiteX2" fmla="*/ 232551 w 237562"/>
                  <a:gd name="connsiteY2" fmla="*/ 95250 h 293941"/>
                  <a:gd name="connsiteX3" fmla="*/ 232551 w 237562"/>
                  <a:gd name="connsiteY3" fmla="*/ 0 h 293941"/>
                  <a:gd name="connsiteX4" fmla="*/ 6713 w 237562"/>
                  <a:gd name="connsiteY4" fmla="*/ 0 h 293941"/>
                  <a:gd name="connsiteX5" fmla="*/ 64339 w 237562"/>
                  <a:gd name="connsiteY5" fmla="*/ 151733 h 293941"/>
                  <a:gd name="connsiteX6" fmla="*/ 132348 w 237562"/>
                  <a:gd name="connsiteY6" fmla="*/ 262795 h 293941"/>
                  <a:gd name="connsiteX7" fmla="*/ 94248 w 237562"/>
                  <a:gd name="connsiteY7" fmla="*/ 262795 h 293941"/>
                  <a:gd name="connsiteX8" fmla="*/ 33383 w 237562"/>
                  <a:gd name="connsiteY8" fmla="*/ 198501 h 293941"/>
                  <a:gd name="connsiteX9" fmla="*/ 1760 w 237562"/>
                  <a:gd name="connsiteY9" fmla="*/ 198501 h 293941"/>
                  <a:gd name="connsiteX10" fmla="*/ 1760 w 237562"/>
                  <a:gd name="connsiteY10" fmla="*/ 293942 h 293941"/>
                  <a:gd name="connsiteX11" fmla="*/ 229312 w 237562"/>
                  <a:gd name="connsiteY11" fmla="*/ 293942 h 293941"/>
                  <a:gd name="connsiteX12" fmla="*/ 168257 w 237562"/>
                  <a:gd name="connsiteY12" fmla="*/ 133731 h 293941"/>
                  <a:gd name="connsiteX13" fmla="*/ 104821 w 237562"/>
                  <a:gd name="connsiteY13" fmla="*/ 30671 h 293941"/>
                  <a:gd name="connsiteX14" fmla="*/ 133586 w 237562"/>
                  <a:gd name="connsiteY14" fmla="*/ 30861 h 2939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37562" h="293941">
                    <a:moveTo>
                      <a:pt x="133586" y="30956"/>
                    </a:moveTo>
                    <a:cubicBezTo>
                      <a:pt x="197023" y="30956"/>
                      <a:pt x="201976" y="95250"/>
                      <a:pt x="201976" y="95250"/>
                    </a:cubicBezTo>
                    <a:lnTo>
                      <a:pt x="232551" y="95250"/>
                    </a:lnTo>
                    <a:lnTo>
                      <a:pt x="232551" y="0"/>
                    </a:lnTo>
                    <a:lnTo>
                      <a:pt x="6713" y="0"/>
                    </a:lnTo>
                    <a:cubicBezTo>
                      <a:pt x="6713" y="0"/>
                      <a:pt x="-29006" y="46768"/>
                      <a:pt x="64339" y="151733"/>
                    </a:cubicBezTo>
                    <a:cubicBezTo>
                      <a:pt x="64339" y="151733"/>
                      <a:pt x="130538" y="228981"/>
                      <a:pt x="132348" y="262795"/>
                    </a:cubicBezTo>
                    <a:lnTo>
                      <a:pt x="94248" y="262795"/>
                    </a:lnTo>
                    <a:cubicBezTo>
                      <a:pt x="39289" y="262795"/>
                      <a:pt x="33383" y="198501"/>
                      <a:pt x="33383" y="198501"/>
                    </a:cubicBezTo>
                    <a:lnTo>
                      <a:pt x="1760" y="198501"/>
                    </a:lnTo>
                    <a:lnTo>
                      <a:pt x="1760" y="293942"/>
                    </a:lnTo>
                    <a:lnTo>
                      <a:pt x="229312" y="293942"/>
                    </a:lnTo>
                    <a:cubicBezTo>
                      <a:pt x="229312" y="293942"/>
                      <a:pt x="270651" y="249365"/>
                      <a:pt x="168257" y="133731"/>
                    </a:cubicBezTo>
                    <a:cubicBezTo>
                      <a:pt x="168257" y="133731"/>
                      <a:pt x="114536" y="78581"/>
                      <a:pt x="104821" y="30671"/>
                    </a:cubicBezTo>
                    <a:lnTo>
                      <a:pt x="133586" y="30861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" name="Freihandform: Form 11">
                <a:extLst>
                  <a:ext uri="{FF2B5EF4-FFF2-40B4-BE49-F238E27FC236}">
                    <a16:creationId xmlns:a16="http://schemas.microsoft.com/office/drawing/2014/main" id="{09C1B726-9B7D-4D45-25DC-AD56BDA19445}"/>
                  </a:ext>
                </a:extLst>
              </p:cNvPr>
              <p:cNvSpPr/>
              <p:nvPr/>
            </p:nvSpPr>
            <p:spPr>
              <a:xfrm>
                <a:off x="6481716" y="3134295"/>
                <a:ext cx="237562" cy="293941"/>
              </a:xfrm>
              <a:custGeom>
                <a:avLst/>
                <a:gdLst>
                  <a:gd name="connsiteX0" fmla="*/ 133586 w 237562"/>
                  <a:gd name="connsiteY0" fmla="*/ 30956 h 293941"/>
                  <a:gd name="connsiteX1" fmla="*/ 201976 w 237562"/>
                  <a:gd name="connsiteY1" fmla="*/ 95250 h 293941"/>
                  <a:gd name="connsiteX2" fmla="*/ 232265 w 237562"/>
                  <a:gd name="connsiteY2" fmla="*/ 95250 h 293941"/>
                  <a:gd name="connsiteX3" fmla="*/ 232265 w 237562"/>
                  <a:gd name="connsiteY3" fmla="*/ 0 h 293941"/>
                  <a:gd name="connsiteX4" fmla="*/ 6713 w 237562"/>
                  <a:gd name="connsiteY4" fmla="*/ 0 h 293941"/>
                  <a:gd name="connsiteX5" fmla="*/ 64339 w 237562"/>
                  <a:gd name="connsiteY5" fmla="*/ 151733 h 293941"/>
                  <a:gd name="connsiteX6" fmla="*/ 132348 w 237562"/>
                  <a:gd name="connsiteY6" fmla="*/ 262795 h 293941"/>
                  <a:gd name="connsiteX7" fmla="*/ 94248 w 237562"/>
                  <a:gd name="connsiteY7" fmla="*/ 262795 h 293941"/>
                  <a:gd name="connsiteX8" fmla="*/ 33383 w 237562"/>
                  <a:gd name="connsiteY8" fmla="*/ 198501 h 293941"/>
                  <a:gd name="connsiteX9" fmla="*/ 1760 w 237562"/>
                  <a:gd name="connsiteY9" fmla="*/ 198501 h 293941"/>
                  <a:gd name="connsiteX10" fmla="*/ 1760 w 237562"/>
                  <a:gd name="connsiteY10" fmla="*/ 293942 h 293941"/>
                  <a:gd name="connsiteX11" fmla="*/ 229313 w 237562"/>
                  <a:gd name="connsiteY11" fmla="*/ 293942 h 293941"/>
                  <a:gd name="connsiteX12" fmla="*/ 168257 w 237562"/>
                  <a:gd name="connsiteY12" fmla="*/ 133731 h 293941"/>
                  <a:gd name="connsiteX13" fmla="*/ 104821 w 237562"/>
                  <a:gd name="connsiteY13" fmla="*/ 30671 h 293941"/>
                  <a:gd name="connsiteX14" fmla="*/ 133586 w 237562"/>
                  <a:gd name="connsiteY14" fmla="*/ 30861 h 2939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37562" h="293941">
                    <a:moveTo>
                      <a:pt x="133586" y="30956"/>
                    </a:moveTo>
                    <a:cubicBezTo>
                      <a:pt x="196832" y="30956"/>
                      <a:pt x="201976" y="95250"/>
                      <a:pt x="201976" y="95250"/>
                    </a:cubicBezTo>
                    <a:lnTo>
                      <a:pt x="232265" y="95250"/>
                    </a:lnTo>
                    <a:lnTo>
                      <a:pt x="232265" y="0"/>
                    </a:lnTo>
                    <a:lnTo>
                      <a:pt x="6713" y="0"/>
                    </a:lnTo>
                    <a:cubicBezTo>
                      <a:pt x="6713" y="0"/>
                      <a:pt x="-29006" y="46768"/>
                      <a:pt x="64339" y="151733"/>
                    </a:cubicBezTo>
                    <a:cubicBezTo>
                      <a:pt x="64339" y="151733"/>
                      <a:pt x="130538" y="228981"/>
                      <a:pt x="132348" y="262795"/>
                    </a:cubicBezTo>
                    <a:lnTo>
                      <a:pt x="94248" y="262795"/>
                    </a:lnTo>
                    <a:cubicBezTo>
                      <a:pt x="39289" y="262795"/>
                      <a:pt x="33383" y="198501"/>
                      <a:pt x="33383" y="198501"/>
                    </a:cubicBezTo>
                    <a:lnTo>
                      <a:pt x="1760" y="198501"/>
                    </a:lnTo>
                    <a:lnTo>
                      <a:pt x="1760" y="293942"/>
                    </a:lnTo>
                    <a:lnTo>
                      <a:pt x="229313" y="293942"/>
                    </a:lnTo>
                    <a:cubicBezTo>
                      <a:pt x="229313" y="293942"/>
                      <a:pt x="270651" y="249365"/>
                      <a:pt x="168257" y="133731"/>
                    </a:cubicBezTo>
                    <a:cubicBezTo>
                      <a:pt x="168257" y="133731"/>
                      <a:pt x="114536" y="78581"/>
                      <a:pt x="104821" y="30671"/>
                    </a:cubicBezTo>
                    <a:lnTo>
                      <a:pt x="133586" y="30861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cxnSp>
        <p:nvCxnSpPr>
          <p:cNvPr id="4" name="Gerade Verbindung 22">
            <a:extLst>
              <a:ext uri="{FF2B5EF4-FFF2-40B4-BE49-F238E27FC236}">
                <a16:creationId xmlns:a16="http://schemas.microsoft.com/office/drawing/2014/main" id="{27628E48-6DAF-B12F-2C8C-03EB63E4D43A}"/>
              </a:ext>
            </a:extLst>
          </p:cNvPr>
          <p:cNvCxnSpPr>
            <a:cxnSpLocks/>
          </p:cNvCxnSpPr>
          <p:nvPr userDrawn="1"/>
        </p:nvCxnSpPr>
        <p:spPr>
          <a:xfrm>
            <a:off x="5096107" y="6093705"/>
            <a:ext cx="4319998" cy="0"/>
          </a:xfrm>
          <a:prstGeom prst="line">
            <a:avLst/>
          </a:prstGeom>
          <a:ln w="6350">
            <a:solidFill>
              <a:srgbClr val="DCE3E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22">
            <a:extLst>
              <a:ext uri="{FF2B5EF4-FFF2-40B4-BE49-F238E27FC236}">
                <a16:creationId xmlns:a16="http://schemas.microsoft.com/office/drawing/2014/main" id="{F35AD0CA-5D57-9491-3FC9-236B0D35480A}"/>
              </a:ext>
            </a:extLst>
          </p:cNvPr>
          <p:cNvCxnSpPr>
            <a:cxnSpLocks/>
          </p:cNvCxnSpPr>
          <p:nvPr userDrawn="1"/>
        </p:nvCxnSpPr>
        <p:spPr>
          <a:xfrm>
            <a:off x="518318" y="4889103"/>
            <a:ext cx="4319998" cy="0"/>
          </a:xfrm>
          <a:prstGeom prst="line">
            <a:avLst/>
          </a:prstGeom>
          <a:ln w="6350">
            <a:solidFill>
              <a:srgbClr val="DCE3E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F444194A-C417-DD88-1412-FCB09EAB82CB}"/>
              </a:ext>
            </a:extLst>
          </p:cNvPr>
          <p:cNvSpPr txBox="1"/>
          <p:nvPr userDrawn="1"/>
        </p:nvSpPr>
        <p:spPr>
          <a:xfrm>
            <a:off x="518317" y="4965080"/>
            <a:ext cx="97234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anose="05000000000000000000" pitchFamily="2" charset="2"/>
              <a:buNone/>
              <a:tabLst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Target group: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08A5546F-1B0C-B903-BBC1-4415CFE0A5A2}"/>
              </a:ext>
            </a:extLst>
          </p:cNvPr>
          <p:cNvSpPr txBox="1"/>
          <p:nvPr userDrawn="1"/>
        </p:nvSpPr>
        <p:spPr>
          <a:xfrm>
            <a:off x="518318" y="5141291"/>
            <a:ext cx="89916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anose="05000000000000000000" pitchFamily="2" charset="2"/>
              <a:buNone/>
              <a:tabLst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Aim: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DD5004B0-3CFB-A8BD-E359-8DDB2CE54376}"/>
              </a:ext>
            </a:extLst>
          </p:cNvPr>
          <p:cNvGrpSpPr/>
          <p:nvPr userDrawn="1"/>
        </p:nvGrpSpPr>
        <p:grpSpPr>
          <a:xfrm>
            <a:off x="304116" y="-697714"/>
            <a:ext cx="11370764" cy="411957"/>
            <a:chOff x="304116" y="6944502"/>
            <a:chExt cx="11370764" cy="411957"/>
          </a:xfrm>
        </p:grpSpPr>
        <p:grpSp>
          <p:nvGrpSpPr>
            <p:cNvPr id="21" name="Gruppieren 20">
              <a:extLst>
                <a:ext uri="{FF2B5EF4-FFF2-40B4-BE49-F238E27FC236}">
                  <a16:creationId xmlns:a16="http://schemas.microsoft.com/office/drawing/2014/main" id="{16B33150-AA79-DBBB-2F28-2E5BB22DE22B}"/>
                </a:ext>
              </a:extLst>
            </p:cNvPr>
            <p:cNvGrpSpPr/>
            <p:nvPr/>
          </p:nvGrpSpPr>
          <p:grpSpPr>
            <a:xfrm rot="16200000">
              <a:off x="204049" y="7044570"/>
              <a:ext cx="411956" cy="211821"/>
              <a:chOff x="-615197" y="4299854"/>
              <a:chExt cx="411956" cy="211821"/>
            </a:xfrm>
          </p:grpSpPr>
          <p:cxnSp>
            <p:nvCxnSpPr>
              <p:cNvPr id="33" name="Gerader Verbinder 32">
                <a:extLst>
                  <a:ext uri="{FF2B5EF4-FFF2-40B4-BE49-F238E27FC236}">
                    <a16:creationId xmlns:a16="http://schemas.microsoft.com/office/drawing/2014/main" id="{F03C31A0-C053-289D-2EC2-D2BBA9495C9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4" name="Textfeld 33">
                <a:extLst>
                  <a:ext uri="{FF2B5EF4-FFF2-40B4-BE49-F238E27FC236}">
                    <a16:creationId xmlns:a16="http://schemas.microsoft.com/office/drawing/2014/main" id="{CF8AFA9F-F2B5-B530-FD93-13DDE7245690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15.50</a:t>
                </a:r>
              </a:p>
            </p:txBody>
          </p:sp>
        </p:grp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3ABBA951-8F9B-F5D9-1027-78A24F3F9CE6}"/>
                </a:ext>
              </a:extLst>
            </p:cNvPr>
            <p:cNvGrpSpPr/>
            <p:nvPr/>
          </p:nvGrpSpPr>
          <p:grpSpPr>
            <a:xfrm rot="16200000">
              <a:off x="5639649" y="7044570"/>
              <a:ext cx="411956" cy="211821"/>
              <a:chOff x="-615197" y="4299854"/>
              <a:chExt cx="411956" cy="211821"/>
            </a:xfrm>
          </p:grpSpPr>
          <p:cxnSp>
            <p:nvCxnSpPr>
              <p:cNvPr id="31" name="Gerader Verbinder 30">
                <a:extLst>
                  <a:ext uri="{FF2B5EF4-FFF2-40B4-BE49-F238E27FC236}">
                    <a16:creationId xmlns:a16="http://schemas.microsoft.com/office/drawing/2014/main" id="{071088D3-DFC3-2BF3-C2D1-9ADA07C4999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2" name="Textfeld 31">
                <a:extLst>
                  <a:ext uri="{FF2B5EF4-FFF2-40B4-BE49-F238E27FC236}">
                    <a16:creationId xmlns:a16="http://schemas.microsoft.com/office/drawing/2014/main" id="{FEDF4612-6DC7-DF73-2AC9-2737A0A18260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0.40</a:t>
                </a:r>
              </a:p>
            </p:txBody>
          </p:sp>
        </p:grp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744F23A5-C9BD-6AA4-DD00-3F8CFD5CCEC4}"/>
                </a:ext>
              </a:extLst>
            </p:cNvPr>
            <p:cNvGrpSpPr/>
            <p:nvPr/>
          </p:nvGrpSpPr>
          <p:grpSpPr>
            <a:xfrm rot="5400000">
              <a:off x="6093326" y="7046990"/>
              <a:ext cx="411956" cy="206980"/>
              <a:chOff x="-615197" y="4350961"/>
              <a:chExt cx="411956" cy="206980"/>
            </a:xfrm>
          </p:grpSpPr>
          <p:cxnSp>
            <p:nvCxnSpPr>
              <p:cNvPr id="29" name="Gerader Verbinder 28">
                <a:extLst>
                  <a:ext uri="{FF2B5EF4-FFF2-40B4-BE49-F238E27FC236}">
                    <a16:creationId xmlns:a16="http://schemas.microsoft.com/office/drawing/2014/main" id="{BD1B2E75-A73E-9F64-C4A5-33C759810AE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0" name="Textfeld 29">
                <a:extLst>
                  <a:ext uri="{FF2B5EF4-FFF2-40B4-BE49-F238E27FC236}">
                    <a16:creationId xmlns:a16="http://schemas.microsoft.com/office/drawing/2014/main" id="{05BCFF94-4C54-801A-9984-ECF2C0859E3C}"/>
                  </a:ext>
                </a:extLst>
              </p:cNvPr>
              <p:cNvSpPr txBox="1"/>
              <p:nvPr/>
            </p:nvSpPr>
            <p:spPr>
              <a:xfrm rot="10800000">
                <a:off x="-615197" y="4350961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0.40</a:t>
                </a:r>
              </a:p>
            </p:txBody>
          </p:sp>
        </p:grpSp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45B2C403-2B79-AD9A-7BC1-702F0B2D6701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5890022" y="7150480"/>
              <a:ext cx="411956" cy="0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5" name="Gruppieren 24">
              <a:extLst>
                <a:ext uri="{FF2B5EF4-FFF2-40B4-BE49-F238E27FC236}">
                  <a16:creationId xmlns:a16="http://schemas.microsoft.com/office/drawing/2014/main" id="{9684E520-B632-419E-AB02-7E6A6A5BA2F0}"/>
                </a:ext>
              </a:extLst>
            </p:cNvPr>
            <p:cNvGrpSpPr/>
            <p:nvPr/>
          </p:nvGrpSpPr>
          <p:grpSpPr>
            <a:xfrm rot="16200000">
              <a:off x="11362992" y="7044570"/>
              <a:ext cx="411956" cy="211821"/>
              <a:chOff x="-615197" y="4299854"/>
              <a:chExt cx="411956" cy="211821"/>
            </a:xfrm>
          </p:grpSpPr>
          <p:cxnSp>
            <p:nvCxnSpPr>
              <p:cNvPr id="27" name="Gerader Verbinder 26">
                <a:extLst>
                  <a:ext uri="{FF2B5EF4-FFF2-40B4-BE49-F238E27FC236}">
                    <a16:creationId xmlns:a16="http://schemas.microsoft.com/office/drawing/2014/main" id="{1A1F4C22-FEF6-C7AA-2060-029980EB23A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8" name="Textfeld 27">
                <a:extLst>
                  <a:ext uri="{FF2B5EF4-FFF2-40B4-BE49-F238E27FC236}">
                    <a16:creationId xmlns:a16="http://schemas.microsoft.com/office/drawing/2014/main" id="{B3FEEC4D-C007-47C9-C517-03533E5A4501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15.50</a:t>
                </a:r>
              </a:p>
            </p:txBody>
          </p:sp>
        </p:grpSp>
      </p:grp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4E81F534-821D-890A-1A54-57BD73C57074}"/>
              </a:ext>
            </a:extLst>
          </p:cNvPr>
          <p:cNvGrpSpPr/>
          <p:nvPr userDrawn="1"/>
        </p:nvGrpSpPr>
        <p:grpSpPr>
          <a:xfrm>
            <a:off x="-697714" y="80201"/>
            <a:ext cx="411956" cy="6720119"/>
            <a:chOff x="-502267" y="80201"/>
            <a:chExt cx="411956" cy="6720119"/>
          </a:xfrm>
        </p:grpSpPr>
        <p:grpSp>
          <p:nvGrpSpPr>
            <p:cNvPr id="36" name="Gruppieren 35">
              <a:extLst>
                <a:ext uri="{FF2B5EF4-FFF2-40B4-BE49-F238E27FC236}">
                  <a16:creationId xmlns:a16="http://schemas.microsoft.com/office/drawing/2014/main" id="{D86DDA67-9A7C-30AE-2395-AD705C37D116}"/>
                </a:ext>
              </a:extLst>
            </p:cNvPr>
            <p:cNvGrpSpPr/>
            <p:nvPr/>
          </p:nvGrpSpPr>
          <p:grpSpPr>
            <a:xfrm>
              <a:off x="-502267" y="6593340"/>
              <a:ext cx="411956" cy="206980"/>
              <a:chOff x="-615197" y="4452994"/>
              <a:chExt cx="411956" cy="206980"/>
            </a:xfrm>
          </p:grpSpPr>
          <p:sp>
            <p:nvSpPr>
              <p:cNvPr id="58" name="Textfeld 57">
                <a:extLst>
                  <a:ext uri="{FF2B5EF4-FFF2-40B4-BE49-F238E27FC236}">
                    <a16:creationId xmlns:a16="http://schemas.microsoft.com/office/drawing/2014/main" id="{637B0B4F-021A-1920-AD88-5E09E5ADD3A9}"/>
                  </a:ext>
                </a:extLst>
              </p:cNvPr>
              <p:cNvSpPr txBox="1"/>
              <p:nvPr/>
            </p:nvSpPr>
            <p:spPr>
              <a:xfrm>
                <a:off x="-615197" y="445299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8.92</a:t>
                </a:r>
              </a:p>
            </p:txBody>
          </p:sp>
          <p:cxnSp>
            <p:nvCxnSpPr>
              <p:cNvPr id="59" name="Gerader Verbinder 58">
                <a:extLst>
                  <a:ext uri="{FF2B5EF4-FFF2-40B4-BE49-F238E27FC236}">
                    <a16:creationId xmlns:a16="http://schemas.microsoft.com/office/drawing/2014/main" id="{816CBD9D-3EB0-AE10-DF29-F4C0D88E332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97389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uppieren 36">
              <a:extLst>
                <a:ext uri="{FF2B5EF4-FFF2-40B4-BE49-F238E27FC236}">
                  <a16:creationId xmlns:a16="http://schemas.microsoft.com/office/drawing/2014/main" id="{BC68BF79-3860-AA8E-A1AA-4B2664BFD9D7}"/>
                </a:ext>
              </a:extLst>
            </p:cNvPr>
            <p:cNvGrpSpPr/>
            <p:nvPr/>
          </p:nvGrpSpPr>
          <p:grpSpPr>
            <a:xfrm>
              <a:off x="-502267" y="5876163"/>
              <a:ext cx="411956" cy="216662"/>
              <a:chOff x="-615197" y="4295013"/>
              <a:chExt cx="411956" cy="216662"/>
            </a:xfrm>
          </p:grpSpPr>
          <p:cxnSp>
            <p:nvCxnSpPr>
              <p:cNvPr id="51" name="Gerader Verbinder 50">
                <a:extLst>
                  <a:ext uri="{FF2B5EF4-FFF2-40B4-BE49-F238E27FC236}">
                    <a16:creationId xmlns:a16="http://schemas.microsoft.com/office/drawing/2014/main" id="{A0ACE079-5B10-285C-67E1-9158AB1F408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2" name="Textfeld 51">
                <a:extLst>
                  <a:ext uri="{FF2B5EF4-FFF2-40B4-BE49-F238E27FC236}">
                    <a16:creationId xmlns:a16="http://schemas.microsoft.com/office/drawing/2014/main" id="{2C0F8FF6-45B8-63C1-9F36-04BBC2F031F4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7.40</a:t>
                </a:r>
              </a:p>
            </p:txBody>
          </p:sp>
        </p:grpSp>
        <p:grpSp>
          <p:nvGrpSpPr>
            <p:cNvPr id="38" name="Gruppieren 37">
              <a:extLst>
                <a:ext uri="{FF2B5EF4-FFF2-40B4-BE49-F238E27FC236}">
                  <a16:creationId xmlns:a16="http://schemas.microsoft.com/office/drawing/2014/main" id="{B6134880-903A-F8AD-8D5A-3852FB9C537E}"/>
                </a:ext>
              </a:extLst>
            </p:cNvPr>
            <p:cNvGrpSpPr/>
            <p:nvPr/>
          </p:nvGrpSpPr>
          <p:grpSpPr>
            <a:xfrm>
              <a:off x="-502267" y="3212338"/>
              <a:ext cx="411956" cy="216662"/>
              <a:chOff x="-615197" y="4295013"/>
              <a:chExt cx="411956" cy="216662"/>
            </a:xfrm>
          </p:grpSpPr>
          <p:cxnSp>
            <p:nvCxnSpPr>
              <p:cNvPr id="48" name="Gerader Verbinder 47">
                <a:extLst>
                  <a:ext uri="{FF2B5EF4-FFF2-40B4-BE49-F238E27FC236}">
                    <a16:creationId xmlns:a16="http://schemas.microsoft.com/office/drawing/2014/main" id="{7BCF390C-2797-2F80-DEBA-74A0D38D947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9" name="Textfeld 48">
                <a:extLst>
                  <a:ext uri="{FF2B5EF4-FFF2-40B4-BE49-F238E27FC236}">
                    <a16:creationId xmlns:a16="http://schemas.microsoft.com/office/drawing/2014/main" id="{1D00C98C-662F-1A77-569D-212224BD8A9F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0.00</a:t>
                </a:r>
              </a:p>
            </p:txBody>
          </p:sp>
        </p:grpSp>
        <p:grpSp>
          <p:nvGrpSpPr>
            <p:cNvPr id="39" name="Gruppieren 38">
              <a:extLst>
                <a:ext uri="{FF2B5EF4-FFF2-40B4-BE49-F238E27FC236}">
                  <a16:creationId xmlns:a16="http://schemas.microsoft.com/office/drawing/2014/main" id="{CF669CAD-1265-0172-E691-5B18E17E4CEE}"/>
                </a:ext>
              </a:extLst>
            </p:cNvPr>
            <p:cNvGrpSpPr/>
            <p:nvPr/>
          </p:nvGrpSpPr>
          <p:grpSpPr>
            <a:xfrm>
              <a:off x="-502267" y="835851"/>
              <a:ext cx="411956" cy="216662"/>
              <a:chOff x="-615197" y="4295013"/>
              <a:chExt cx="411956" cy="216662"/>
            </a:xfrm>
          </p:grpSpPr>
          <p:cxnSp>
            <p:nvCxnSpPr>
              <p:cNvPr id="46" name="Gerader Verbinder 45">
                <a:extLst>
                  <a:ext uri="{FF2B5EF4-FFF2-40B4-BE49-F238E27FC236}">
                    <a16:creationId xmlns:a16="http://schemas.microsoft.com/office/drawing/2014/main" id="{533190CE-EE3B-29AD-8051-6E0011FFD9D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7" name="Textfeld 46">
                <a:extLst>
                  <a:ext uri="{FF2B5EF4-FFF2-40B4-BE49-F238E27FC236}">
                    <a16:creationId xmlns:a16="http://schemas.microsoft.com/office/drawing/2014/main" id="{A177B712-34D4-CA60-ACD2-745A60A105CA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6.60</a:t>
                </a:r>
              </a:p>
            </p:txBody>
          </p:sp>
        </p:grpSp>
        <p:grpSp>
          <p:nvGrpSpPr>
            <p:cNvPr id="40" name="Gruppieren 39">
              <a:extLst>
                <a:ext uri="{FF2B5EF4-FFF2-40B4-BE49-F238E27FC236}">
                  <a16:creationId xmlns:a16="http://schemas.microsoft.com/office/drawing/2014/main" id="{1E7DDDC4-CF66-5DA8-35FE-2E8E466D589F}"/>
                </a:ext>
              </a:extLst>
            </p:cNvPr>
            <p:cNvGrpSpPr/>
            <p:nvPr/>
          </p:nvGrpSpPr>
          <p:grpSpPr>
            <a:xfrm>
              <a:off x="-502267" y="1412113"/>
              <a:ext cx="411956" cy="216662"/>
              <a:chOff x="-615197" y="4295013"/>
              <a:chExt cx="411956" cy="216662"/>
            </a:xfrm>
          </p:grpSpPr>
          <p:cxnSp>
            <p:nvCxnSpPr>
              <p:cNvPr id="44" name="Gerader Verbinder 43">
                <a:extLst>
                  <a:ext uri="{FF2B5EF4-FFF2-40B4-BE49-F238E27FC236}">
                    <a16:creationId xmlns:a16="http://schemas.microsoft.com/office/drawing/2014/main" id="{12870799-D540-5CCB-ECFD-BD9FD3A3C5B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5" name="Textfeld 44">
                <a:extLst>
                  <a:ext uri="{FF2B5EF4-FFF2-40B4-BE49-F238E27FC236}">
                    <a16:creationId xmlns:a16="http://schemas.microsoft.com/office/drawing/2014/main" id="{EE5C04C4-11A3-9556-2A84-9C4ADBDE202A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5.00</a:t>
                </a:r>
              </a:p>
            </p:txBody>
          </p:sp>
        </p:grpSp>
        <p:grpSp>
          <p:nvGrpSpPr>
            <p:cNvPr id="41" name="Gruppieren 40">
              <a:extLst>
                <a:ext uri="{FF2B5EF4-FFF2-40B4-BE49-F238E27FC236}">
                  <a16:creationId xmlns:a16="http://schemas.microsoft.com/office/drawing/2014/main" id="{DF13FC84-4F2B-72FB-8E53-8713415A3BBE}"/>
                </a:ext>
              </a:extLst>
            </p:cNvPr>
            <p:cNvGrpSpPr/>
            <p:nvPr/>
          </p:nvGrpSpPr>
          <p:grpSpPr>
            <a:xfrm>
              <a:off x="-502267" y="80201"/>
              <a:ext cx="411956" cy="216662"/>
              <a:chOff x="-615197" y="4258501"/>
              <a:chExt cx="411956" cy="216662"/>
            </a:xfrm>
          </p:grpSpPr>
          <p:cxnSp>
            <p:nvCxnSpPr>
              <p:cNvPr id="42" name="Gerader Verbinder 41">
                <a:extLst>
                  <a:ext uri="{FF2B5EF4-FFF2-40B4-BE49-F238E27FC236}">
                    <a16:creationId xmlns:a16="http://schemas.microsoft.com/office/drawing/2014/main" id="{37D704E8-B238-5AC8-A954-9DECD862294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75163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3" name="Textfeld 42">
                <a:extLst>
                  <a:ext uri="{FF2B5EF4-FFF2-40B4-BE49-F238E27FC236}">
                    <a16:creationId xmlns:a16="http://schemas.microsoft.com/office/drawing/2014/main" id="{D468E891-D155-62FF-9824-678F3462B443}"/>
                  </a:ext>
                </a:extLst>
              </p:cNvPr>
              <p:cNvSpPr txBox="1"/>
              <p:nvPr/>
            </p:nvSpPr>
            <p:spPr>
              <a:xfrm>
                <a:off x="-615197" y="4258501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8.70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145585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extplatzhalter 12">
            <a:extLst>
              <a:ext uri="{FF2B5EF4-FFF2-40B4-BE49-F238E27FC236}">
                <a16:creationId xmlns:a16="http://schemas.microsoft.com/office/drawing/2014/main" id="{08867696-D4BB-4274-99DA-E1F7C1D1AB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670595"/>
            <a:ext cx="946655" cy="539942"/>
          </a:xfrm>
          <a:noFill/>
        </p:spPr>
        <p:txBody>
          <a:bodyPr wrap="none" lIns="518400" tIns="54000" bIns="54000" anchor="ctr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rgbClr val="0F2DB3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 dirty="0"/>
              <a:t>01</a:t>
            </a:r>
          </a:p>
        </p:txBody>
      </p:sp>
      <p:sp>
        <p:nvSpPr>
          <p:cNvPr id="74" name="Textplatzhalter 12">
            <a:extLst>
              <a:ext uri="{FF2B5EF4-FFF2-40B4-BE49-F238E27FC236}">
                <a16:creationId xmlns:a16="http://schemas.microsoft.com/office/drawing/2014/main" id="{907877DD-5B1D-4AEE-ABA4-52DD96BEDB3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2952545"/>
            <a:ext cx="946655" cy="539942"/>
          </a:xfrm>
        </p:spPr>
        <p:txBody>
          <a:bodyPr wrap="none" lIns="518400" tIns="54000" bIns="54000" anchor="ctr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rgbClr val="0F2DB3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03</a:t>
            </a:r>
          </a:p>
        </p:txBody>
      </p:sp>
      <p:sp>
        <p:nvSpPr>
          <p:cNvPr id="75" name="Textplatzhalter 12">
            <a:extLst>
              <a:ext uri="{FF2B5EF4-FFF2-40B4-BE49-F238E27FC236}">
                <a16:creationId xmlns:a16="http://schemas.microsoft.com/office/drawing/2014/main" id="{F1FEB128-FEDB-4E1C-B935-6290A27AC53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0" y="3593520"/>
            <a:ext cx="946655" cy="539942"/>
          </a:xfrm>
        </p:spPr>
        <p:txBody>
          <a:bodyPr wrap="none" lIns="518400" tIns="54000" bIns="54000" anchor="ctr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rgbClr val="0F2DB3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04</a:t>
            </a:r>
          </a:p>
        </p:txBody>
      </p:sp>
      <p:sp>
        <p:nvSpPr>
          <p:cNvPr id="76" name="Textplatzhalter 12">
            <a:extLst>
              <a:ext uri="{FF2B5EF4-FFF2-40B4-BE49-F238E27FC236}">
                <a16:creationId xmlns:a16="http://schemas.microsoft.com/office/drawing/2014/main" id="{AA9AE1DF-DBF2-4FD9-94A7-2C59E1F53DC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4234495"/>
            <a:ext cx="946655" cy="539942"/>
          </a:xfrm>
        </p:spPr>
        <p:txBody>
          <a:bodyPr wrap="none" lIns="518400" tIns="54000" bIns="54000" anchor="ctr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rgbClr val="0F2DB3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05</a:t>
            </a:r>
          </a:p>
        </p:txBody>
      </p:sp>
      <p:sp>
        <p:nvSpPr>
          <p:cNvPr id="77" name="Textplatzhalter 12">
            <a:extLst>
              <a:ext uri="{FF2B5EF4-FFF2-40B4-BE49-F238E27FC236}">
                <a16:creationId xmlns:a16="http://schemas.microsoft.com/office/drawing/2014/main" id="{6BBCC3E1-662D-4F3D-B750-E4C70FFB43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4875470"/>
            <a:ext cx="946655" cy="539942"/>
          </a:xfrm>
        </p:spPr>
        <p:txBody>
          <a:bodyPr wrap="none" lIns="518400" tIns="54000" bIns="54000" anchor="ctr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rgbClr val="0F2DB3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06</a:t>
            </a:r>
          </a:p>
        </p:txBody>
      </p:sp>
      <p:sp>
        <p:nvSpPr>
          <p:cNvPr id="78" name="Textplatzhalter 12">
            <a:extLst>
              <a:ext uri="{FF2B5EF4-FFF2-40B4-BE49-F238E27FC236}">
                <a16:creationId xmlns:a16="http://schemas.microsoft.com/office/drawing/2014/main" id="{341BE001-8BCF-4CFA-995D-4633F1EBEC8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5516447"/>
            <a:ext cx="946655" cy="539942"/>
          </a:xfrm>
        </p:spPr>
        <p:txBody>
          <a:bodyPr wrap="none" lIns="518400" tIns="54000" bIns="54000" anchor="ctr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rgbClr val="0F2DB3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07</a:t>
            </a:r>
          </a:p>
        </p:txBody>
      </p:sp>
      <p:sp>
        <p:nvSpPr>
          <p:cNvPr id="79" name="Textplatzhalter 12">
            <a:extLst>
              <a:ext uri="{FF2B5EF4-FFF2-40B4-BE49-F238E27FC236}">
                <a16:creationId xmlns:a16="http://schemas.microsoft.com/office/drawing/2014/main" id="{FF924AF4-29E6-4D0D-A656-F1385B9DE279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0" y="2311570"/>
            <a:ext cx="946655" cy="539942"/>
          </a:xfrm>
        </p:spPr>
        <p:txBody>
          <a:bodyPr wrap="none" lIns="518400" tIns="54000" bIns="54000" anchor="ctr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rgbClr val="0F2DB3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 dirty="0"/>
              <a:t>02</a:t>
            </a:r>
          </a:p>
        </p:txBody>
      </p:sp>
      <p:sp>
        <p:nvSpPr>
          <p:cNvPr id="35" name="Textplatzhalter 12">
            <a:extLst>
              <a:ext uri="{FF2B5EF4-FFF2-40B4-BE49-F238E27FC236}">
                <a16:creationId xmlns:a16="http://schemas.microsoft.com/office/drawing/2014/main" id="{F2C8B787-6095-434A-9C6C-78A5108C8B6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18319" y="1632212"/>
            <a:ext cx="11160000" cy="3600"/>
          </a:xfrm>
          <a:solidFill>
            <a:srgbClr val="DCE3E9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36" name="Textplatzhalter 12">
            <a:extLst>
              <a:ext uri="{FF2B5EF4-FFF2-40B4-BE49-F238E27FC236}">
                <a16:creationId xmlns:a16="http://schemas.microsoft.com/office/drawing/2014/main" id="{EDBC396B-1D3D-4E70-9A15-834458035ED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18319" y="6091175"/>
            <a:ext cx="11160000" cy="3600"/>
          </a:xfrm>
          <a:solidFill>
            <a:srgbClr val="DCE3E9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37" name="Textplatzhalter 12">
            <a:extLst>
              <a:ext uri="{FF2B5EF4-FFF2-40B4-BE49-F238E27FC236}">
                <a16:creationId xmlns:a16="http://schemas.microsoft.com/office/drawing/2014/main" id="{16496151-4C59-4CA7-9171-93A5E6FD0E3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18319" y="5454182"/>
            <a:ext cx="11160000" cy="3600"/>
          </a:xfrm>
          <a:solidFill>
            <a:srgbClr val="DCE3E9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38" name="Textplatzhalter 12">
            <a:extLst>
              <a:ext uri="{FF2B5EF4-FFF2-40B4-BE49-F238E27FC236}">
                <a16:creationId xmlns:a16="http://schemas.microsoft.com/office/drawing/2014/main" id="{2E872B50-F58D-4049-829B-5D4FC3DD44B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18319" y="4817187"/>
            <a:ext cx="11160000" cy="3600"/>
          </a:xfrm>
          <a:solidFill>
            <a:srgbClr val="DCE3E9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39" name="Textplatzhalter 12">
            <a:extLst>
              <a:ext uri="{FF2B5EF4-FFF2-40B4-BE49-F238E27FC236}">
                <a16:creationId xmlns:a16="http://schemas.microsoft.com/office/drawing/2014/main" id="{365BC96D-ED2D-464E-BC70-A23FF37E8D5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18319" y="4180192"/>
            <a:ext cx="11160000" cy="3600"/>
          </a:xfrm>
          <a:solidFill>
            <a:srgbClr val="DCE3E9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0" name="Textplatzhalter 12">
            <a:extLst>
              <a:ext uri="{FF2B5EF4-FFF2-40B4-BE49-F238E27FC236}">
                <a16:creationId xmlns:a16="http://schemas.microsoft.com/office/drawing/2014/main" id="{B065DB6D-E88A-4417-88AE-F3BDA7535DF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8319" y="3543197"/>
            <a:ext cx="11160000" cy="3600"/>
          </a:xfrm>
          <a:solidFill>
            <a:srgbClr val="DCE3E9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1" name="Textplatzhalter 12">
            <a:extLst>
              <a:ext uri="{FF2B5EF4-FFF2-40B4-BE49-F238E27FC236}">
                <a16:creationId xmlns:a16="http://schemas.microsoft.com/office/drawing/2014/main" id="{AEB6ADF8-03FE-4219-AC3D-60860EB9B1E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8319" y="2906202"/>
            <a:ext cx="11160000" cy="3600"/>
          </a:xfrm>
          <a:solidFill>
            <a:srgbClr val="DCE3E9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2" name="Textplatzhalter 12">
            <a:extLst>
              <a:ext uri="{FF2B5EF4-FFF2-40B4-BE49-F238E27FC236}">
                <a16:creationId xmlns:a16="http://schemas.microsoft.com/office/drawing/2014/main" id="{39606005-B38E-44BD-9756-AFE8B8BBACA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18319" y="2269207"/>
            <a:ext cx="11160000" cy="3600"/>
          </a:xfrm>
          <a:solidFill>
            <a:srgbClr val="DCE3E9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008D678-508B-4EAC-8996-9B20ADAA3B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9" y="299633"/>
            <a:ext cx="9740106" cy="369332"/>
          </a:xfrm>
        </p:spPr>
        <p:txBody>
          <a:bodyPr/>
          <a:lstStyle/>
          <a:p>
            <a:r>
              <a:rPr lang="en-US" noProof="0"/>
              <a:t>Edit Master Cover Format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10C57EE4-17A8-41AE-AD8F-0C906241B73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108695" y="1713196"/>
            <a:ext cx="484284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 dirty="0"/>
              <a:t>Overwrite number and add agenda item</a:t>
            </a:r>
          </a:p>
        </p:txBody>
      </p:sp>
      <p:sp>
        <p:nvSpPr>
          <p:cNvPr id="29" name="Textplatzhalter 27">
            <a:extLst>
              <a:ext uri="{FF2B5EF4-FFF2-40B4-BE49-F238E27FC236}">
                <a16:creationId xmlns:a16="http://schemas.microsoft.com/office/drawing/2014/main" id="{EDC138DF-81E8-468E-BE50-5A359E245AF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08695" y="5559048"/>
            <a:ext cx="484284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 dirty="0"/>
              <a:t>Overwrite number and add agenda item</a:t>
            </a:r>
          </a:p>
        </p:txBody>
      </p:sp>
      <p:sp>
        <p:nvSpPr>
          <p:cNvPr id="30" name="Textplatzhalter 27">
            <a:extLst>
              <a:ext uri="{FF2B5EF4-FFF2-40B4-BE49-F238E27FC236}">
                <a16:creationId xmlns:a16="http://schemas.microsoft.com/office/drawing/2014/main" id="{E67A7442-A1B4-49EA-9268-A28469018AD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108695" y="4918071"/>
            <a:ext cx="484284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Overwrite number and add agenda item</a:t>
            </a:r>
            <a:endParaRPr lang="en-US" noProof="0" dirty="0"/>
          </a:p>
        </p:txBody>
      </p:sp>
      <p:sp>
        <p:nvSpPr>
          <p:cNvPr id="31" name="Textplatzhalter 27">
            <a:extLst>
              <a:ext uri="{FF2B5EF4-FFF2-40B4-BE49-F238E27FC236}">
                <a16:creationId xmlns:a16="http://schemas.microsoft.com/office/drawing/2014/main" id="{9B7A6C1A-6494-4115-8E54-99DC0DB45D2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108695" y="4277096"/>
            <a:ext cx="484284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Overwrite number and add agenda item</a:t>
            </a:r>
            <a:endParaRPr lang="en-US" noProof="0" dirty="0"/>
          </a:p>
        </p:txBody>
      </p:sp>
      <p:sp>
        <p:nvSpPr>
          <p:cNvPr id="32" name="Textplatzhalter 27">
            <a:extLst>
              <a:ext uri="{FF2B5EF4-FFF2-40B4-BE49-F238E27FC236}">
                <a16:creationId xmlns:a16="http://schemas.microsoft.com/office/drawing/2014/main" id="{9D8685BE-5979-43B0-AC0C-74054987778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108695" y="3636121"/>
            <a:ext cx="484284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Overwrite number and add agenda item</a:t>
            </a:r>
            <a:endParaRPr lang="en-US" noProof="0" dirty="0"/>
          </a:p>
        </p:txBody>
      </p:sp>
      <p:sp>
        <p:nvSpPr>
          <p:cNvPr id="34" name="Textplatzhalter 27">
            <a:extLst>
              <a:ext uri="{FF2B5EF4-FFF2-40B4-BE49-F238E27FC236}">
                <a16:creationId xmlns:a16="http://schemas.microsoft.com/office/drawing/2014/main" id="{F5438DE9-D033-4100-9761-E4FFFC202FE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08695" y="2354171"/>
            <a:ext cx="484284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 dirty="0"/>
              <a:t>Overwrite number and add agenda item</a:t>
            </a:r>
          </a:p>
        </p:txBody>
      </p:sp>
      <p:sp>
        <p:nvSpPr>
          <p:cNvPr id="54" name="Textplatzhalter 8">
            <a:extLst>
              <a:ext uri="{FF2B5EF4-FFF2-40B4-BE49-F238E27FC236}">
                <a16:creationId xmlns:a16="http://schemas.microsoft.com/office/drawing/2014/main" id="{BB278DD4-3FCE-4782-AF12-45EC1832917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ZEISS Frutiger Next W1G" panose="020B0503040204020203" pitchFamily="34" charset="0"/>
              </a:defRPr>
            </a:lvl1pPr>
          </a:lstStyle>
          <a:p>
            <a:pPr lvl="0"/>
            <a:r>
              <a:rPr lang="en-US" noProof="0" dirty="0"/>
              <a:t>Edit master text format</a:t>
            </a:r>
          </a:p>
        </p:txBody>
      </p:sp>
      <p:sp>
        <p:nvSpPr>
          <p:cNvPr id="55" name="Textplatzhalter 27">
            <a:extLst>
              <a:ext uri="{FF2B5EF4-FFF2-40B4-BE49-F238E27FC236}">
                <a16:creationId xmlns:a16="http://schemas.microsoft.com/office/drawing/2014/main" id="{40334521-65D4-4254-A9E2-9118257ED99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108695" y="2995146"/>
            <a:ext cx="484284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Overwrite number and add agenda item</a:t>
            </a:r>
            <a:endParaRPr lang="en-US" noProof="0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BE5B33A-A7BA-41A0-B7C7-DAC6E90DD2F7}"/>
              </a:ext>
            </a:extLst>
          </p:cNvPr>
          <p:cNvSpPr>
            <a:spLocks noGrp="1"/>
          </p:cNvSpPr>
          <p:nvPr>
            <p:ph type="dt" sz="half" idx="41"/>
          </p:nvPr>
        </p:nvSpPr>
        <p:spPr/>
        <p:txBody>
          <a:bodyPr/>
          <a:lstStyle/>
          <a:p>
            <a:fld id="{EE24B399-C504-4BCF-8265-E5675D116EFD}" type="datetime3">
              <a:rPr lang="en-US" noProof="0" smtClean="0"/>
              <a:t>4 June 2025</a:t>
            </a:fld>
            <a:endParaRPr lang="en-US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C600286D-DAD9-47BD-A040-82B8A71738E2}"/>
              </a:ext>
            </a:extLst>
          </p:cNvPr>
          <p:cNvSpPr>
            <a:spLocks noGrp="1"/>
          </p:cNvSpPr>
          <p:nvPr>
            <p:ph type="ftr" sz="quarter" idx="42"/>
          </p:nvPr>
        </p:nvSpPr>
        <p:spPr/>
        <p:txBody>
          <a:bodyPr/>
          <a:lstStyle/>
          <a:p>
            <a:r>
              <a:rPr lang="en-US" noProof="0"/>
              <a:t>ZEISS</a:t>
            </a:r>
            <a:endParaRPr lang="en-US" noProof="0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10AE30C6-34E4-46C4-8328-4D5F93748836}"/>
              </a:ext>
            </a:extLst>
          </p:cNvPr>
          <p:cNvSpPr>
            <a:spLocks noGrp="1"/>
          </p:cNvSpPr>
          <p:nvPr>
            <p:ph type="sldNum" sz="quarter" idx="43"/>
          </p:nvPr>
        </p:nvSpPr>
        <p:spPr>
          <a:xfrm>
            <a:off x="11491717" y="6687622"/>
            <a:ext cx="184346" cy="123111"/>
          </a:xfrm>
        </p:spPr>
        <p:txBody>
          <a:bodyPr/>
          <a:lstStyle/>
          <a:p>
            <a:fld id="{C6A4AD45-2621-4550-9DC5-4911F1B5FA4D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0" name="Textplatzhalter 27">
            <a:extLst>
              <a:ext uri="{FF2B5EF4-FFF2-40B4-BE49-F238E27FC236}">
                <a16:creationId xmlns:a16="http://schemas.microsoft.com/office/drawing/2014/main" id="{58512C69-BAB1-4D42-BE3F-E7ED39890F88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969191" y="1713197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de-DE" noProof="0" dirty="0"/>
              <a:t>Add Speaker</a:t>
            </a:r>
          </a:p>
        </p:txBody>
      </p:sp>
      <p:sp>
        <p:nvSpPr>
          <p:cNvPr id="51" name="Textplatzhalter 27">
            <a:extLst>
              <a:ext uri="{FF2B5EF4-FFF2-40B4-BE49-F238E27FC236}">
                <a16:creationId xmlns:a16="http://schemas.microsoft.com/office/drawing/2014/main" id="{DACC74A9-0A8D-447B-B0A3-A7B3E185024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509624" y="1713197"/>
            <a:ext cx="1166403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 dirty="0"/>
              <a:t>XX:XX – XX:XX</a:t>
            </a:r>
          </a:p>
        </p:txBody>
      </p:sp>
      <p:sp>
        <p:nvSpPr>
          <p:cNvPr id="52" name="Textplatzhalter 27">
            <a:extLst>
              <a:ext uri="{FF2B5EF4-FFF2-40B4-BE49-F238E27FC236}">
                <a16:creationId xmlns:a16="http://schemas.microsoft.com/office/drawing/2014/main" id="{BC8CE078-446E-44E4-82BB-784C7A3092C2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7969191" y="5559049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de-DE" noProof="0"/>
              <a:t>Add Speaker</a:t>
            </a:r>
            <a:endParaRPr lang="de-DE" noProof="0" dirty="0"/>
          </a:p>
        </p:txBody>
      </p:sp>
      <p:sp>
        <p:nvSpPr>
          <p:cNvPr id="53" name="Textplatzhalter 27">
            <a:extLst>
              <a:ext uri="{FF2B5EF4-FFF2-40B4-BE49-F238E27FC236}">
                <a16:creationId xmlns:a16="http://schemas.microsoft.com/office/drawing/2014/main" id="{DF171C98-FC78-493B-8685-7FC7F1C00473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0509624" y="5559049"/>
            <a:ext cx="1166403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 dirty="0"/>
              <a:t>XX:XX – XX:XX</a:t>
            </a:r>
          </a:p>
        </p:txBody>
      </p:sp>
      <p:sp>
        <p:nvSpPr>
          <p:cNvPr id="56" name="Textplatzhalter 27">
            <a:extLst>
              <a:ext uri="{FF2B5EF4-FFF2-40B4-BE49-F238E27FC236}">
                <a16:creationId xmlns:a16="http://schemas.microsoft.com/office/drawing/2014/main" id="{4902C768-3FF3-4324-ACE9-E6CC67486D92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969191" y="4918072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de-DE" noProof="0"/>
              <a:t>Add Speaker</a:t>
            </a:r>
            <a:endParaRPr lang="de-DE" noProof="0" dirty="0"/>
          </a:p>
        </p:txBody>
      </p:sp>
      <p:sp>
        <p:nvSpPr>
          <p:cNvPr id="57" name="Textplatzhalter 27">
            <a:extLst>
              <a:ext uri="{FF2B5EF4-FFF2-40B4-BE49-F238E27FC236}">
                <a16:creationId xmlns:a16="http://schemas.microsoft.com/office/drawing/2014/main" id="{382B9CCC-AC5B-4731-B3FF-0ED29CD5232D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0509624" y="4918072"/>
            <a:ext cx="1166403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 dirty="0"/>
              <a:t>XX:XX – XX:XX</a:t>
            </a:r>
          </a:p>
        </p:txBody>
      </p:sp>
      <p:sp>
        <p:nvSpPr>
          <p:cNvPr id="58" name="Textplatzhalter 27">
            <a:extLst>
              <a:ext uri="{FF2B5EF4-FFF2-40B4-BE49-F238E27FC236}">
                <a16:creationId xmlns:a16="http://schemas.microsoft.com/office/drawing/2014/main" id="{0CD871D3-6404-4FD8-BAA7-341A607318F7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969191" y="4277097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de-DE" noProof="0"/>
              <a:t>Add Speaker</a:t>
            </a:r>
            <a:endParaRPr lang="de-DE" noProof="0" dirty="0"/>
          </a:p>
        </p:txBody>
      </p:sp>
      <p:sp>
        <p:nvSpPr>
          <p:cNvPr id="66" name="Textplatzhalter 27">
            <a:extLst>
              <a:ext uri="{FF2B5EF4-FFF2-40B4-BE49-F238E27FC236}">
                <a16:creationId xmlns:a16="http://schemas.microsoft.com/office/drawing/2014/main" id="{EE9FAF77-111B-4232-B922-F5C2DAEC0AE9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0509624" y="4277097"/>
            <a:ext cx="1166403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 dirty="0"/>
              <a:t>XX:XX – XX:XX</a:t>
            </a:r>
          </a:p>
        </p:txBody>
      </p:sp>
      <p:sp>
        <p:nvSpPr>
          <p:cNvPr id="67" name="Textplatzhalter 27">
            <a:extLst>
              <a:ext uri="{FF2B5EF4-FFF2-40B4-BE49-F238E27FC236}">
                <a16:creationId xmlns:a16="http://schemas.microsoft.com/office/drawing/2014/main" id="{DCF7C6C8-DFBE-4825-ADB4-31A94B3CB72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969191" y="3636122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de-DE" noProof="0"/>
              <a:t>Add Speaker</a:t>
            </a:r>
            <a:endParaRPr lang="de-DE" noProof="0" dirty="0"/>
          </a:p>
        </p:txBody>
      </p:sp>
      <p:sp>
        <p:nvSpPr>
          <p:cNvPr id="68" name="Textplatzhalter 27">
            <a:extLst>
              <a:ext uri="{FF2B5EF4-FFF2-40B4-BE49-F238E27FC236}">
                <a16:creationId xmlns:a16="http://schemas.microsoft.com/office/drawing/2014/main" id="{2F1B5A69-546B-4EB7-BE67-2CEF1A9F4DA9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0509624" y="3636122"/>
            <a:ext cx="1166403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 dirty="0"/>
              <a:t>XX:XX – XX:XX</a:t>
            </a:r>
          </a:p>
        </p:txBody>
      </p:sp>
      <p:sp>
        <p:nvSpPr>
          <p:cNvPr id="69" name="Textplatzhalter 27">
            <a:extLst>
              <a:ext uri="{FF2B5EF4-FFF2-40B4-BE49-F238E27FC236}">
                <a16:creationId xmlns:a16="http://schemas.microsoft.com/office/drawing/2014/main" id="{2CA2A27B-96C0-4A80-8249-E8495A5FF8DE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969191" y="2995147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de-DE" noProof="0"/>
              <a:t>Add Speaker</a:t>
            </a:r>
            <a:endParaRPr lang="de-DE" noProof="0" dirty="0"/>
          </a:p>
        </p:txBody>
      </p:sp>
      <p:sp>
        <p:nvSpPr>
          <p:cNvPr id="70" name="Textplatzhalter 27">
            <a:extLst>
              <a:ext uri="{FF2B5EF4-FFF2-40B4-BE49-F238E27FC236}">
                <a16:creationId xmlns:a16="http://schemas.microsoft.com/office/drawing/2014/main" id="{08CDD6D7-EDFC-4C37-99AB-4969F8D6D034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0509624" y="2995147"/>
            <a:ext cx="1166403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 dirty="0"/>
              <a:t>XX:XX – XX:XX</a:t>
            </a:r>
          </a:p>
        </p:txBody>
      </p:sp>
      <p:sp>
        <p:nvSpPr>
          <p:cNvPr id="71" name="Textplatzhalter 27">
            <a:extLst>
              <a:ext uri="{FF2B5EF4-FFF2-40B4-BE49-F238E27FC236}">
                <a16:creationId xmlns:a16="http://schemas.microsoft.com/office/drawing/2014/main" id="{FCDE6D54-5B75-4F38-8485-8FC6CF1A426B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969191" y="2354172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de-DE" noProof="0"/>
              <a:t>Add Speaker</a:t>
            </a:r>
            <a:endParaRPr lang="de-DE" noProof="0" dirty="0"/>
          </a:p>
        </p:txBody>
      </p:sp>
      <p:sp>
        <p:nvSpPr>
          <p:cNvPr id="72" name="Textplatzhalter 27">
            <a:extLst>
              <a:ext uri="{FF2B5EF4-FFF2-40B4-BE49-F238E27FC236}">
                <a16:creationId xmlns:a16="http://schemas.microsoft.com/office/drawing/2014/main" id="{895225C6-8D81-4835-904C-A57B5DC158C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0509624" y="2354172"/>
            <a:ext cx="1166403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 dirty="0"/>
              <a:t>XX:XX – XX:XX</a:t>
            </a:r>
          </a:p>
        </p:txBody>
      </p:sp>
    </p:spTree>
    <p:extLst>
      <p:ext uri="{BB962C8B-B14F-4D97-AF65-F5344CB8AC3E}">
        <p14:creationId xmlns:p14="http://schemas.microsoft.com/office/powerpoint/2010/main" val="14400320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platzhalter 12">
            <a:extLst>
              <a:ext uri="{FF2B5EF4-FFF2-40B4-BE49-F238E27FC236}">
                <a16:creationId xmlns:a16="http://schemas.microsoft.com/office/drawing/2014/main" id="{60B1A2EF-7EA6-48D0-837F-6AA82730ACA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18319" y="1632212"/>
            <a:ext cx="11160000" cy="3600"/>
          </a:xfrm>
          <a:solidFill>
            <a:srgbClr val="DCE3E9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5" name="Textplatzhalter 12">
            <a:extLst>
              <a:ext uri="{FF2B5EF4-FFF2-40B4-BE49-F238E27FC236}">
                <a16:creationId xmlns:a16="http://schemas.microsoft.com/office/drawing/2014/main" id="{11D754A6-9116-418B-B54D-167359953A8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18319" y="6091175"/>
            <a:ext cx="11160000" cy="3600"/>
          </a:xfrm>
          <a:solidFill>
            <a:srgbClr val="DCE3E9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6" name="Textplatzhalter 12">
            <a:extLst>
              <a:ext uri="{FF2B5EF4-FFF2-40B4-BE49-F238E27FC236}">
                <a16:creationId xmlns:a16="http://schemas.microsoft.com/office/drawing/2014/main" id="{2A741A2A-D48F-4186-A933-A38C7FB3FD6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18319" y="5454182"/>
            <a:ext cx="11160000" cy="3600"/>
          </a:xfrm>
          <a:solidFill>
            <a:srgbClr val="DCE3E9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52" name="Textplatzhalter 12">
            <a:extLst>
              <a:ext uri="{FF2B5EF4-FFF2-40B4-BE49-F238E27FC236}">
                <a16:creationId xmlns:a16="http://schemas.microsoft.com/office/drawing/2014/main" id="{0C3A2905-336F-4115-8CFF-4EDC8CA10A2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18319" y="4817187"/>
            <a:ext cx="11160000" cy="3600"/>
          </a:xfrm>
          <a:solidFill>
            <a:srgbClr val="DCE3E9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53" name="Textplatzhalter 12">
            <a:extLst>
              <a:ext uri="{FF2B5EF4-FFF2-40B4-BE49-F238E27FC236}">
                <a16:creationId xmlns:a16="http://schemas.microsoft.com/office/drawing/2014/main" id="{D2E7C502-228D-4891-B233-D5B3639E680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18319" y="4180192"/>
            <a:ext cx="11160000" cy="3600"/>
          </a:xfrm>
          <a:solidFill>
            <a:srgbClr val="DCE3E9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56" name="Textplatzhalter 12">
            <a:extLst>
              <a:ext uri="{FF2B5EF4-FFF2-40B4-BE49-F238E27FC236}">
                <a16:creationId xmlns:a16="http://schemas.microsoft.com/office/drawing/2014/main" id="{1C5C67FD-A2AC-4A23-ADAA-700FEE60878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8319" y="3543197"/>
            <a:ext cx="11160000" cy="3600"/>
          </a:xfrm>
          <a:solidFill>
            <a:srgbClr val="DCE3E9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58" name="Textplatzhalter 12">
            <a:extLst>
              <a:ext uri="{FF2B5EF4-FFF2-40B4-BE49-F238E27FC236}">
                <a16:creationId xmlns:a16="http://schemas.microsoft.com/office/drawing/2014/main" id="{1AFD6221-79AF-4FDB-9DC1-82609545876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8319" y="2906202"/>
            <a:ext cx="11160000" cy="3600"/>
          </a:xfrm>
          <a:solidFill>
            <a:srgbClr val="DCE3E9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59" name="Textplatzhalter 12">
            <a:extLst>
              <a:ext uri="{FF2B5EF4-FFF2-40B4-BE49-F238E27FC236}">
                <a16:creationId xmlns:a16="http://schemas.microsoft.com/office/drawing/2014/main" id="{8F427141-71C3-435A-8417-99837EB6300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18319" y="2269207"/>
            <a:ext cx="11160000" cy="3600"/>
          </a:xfrm>
          <a:solidFill>
            <a:srgbClr val="DCE3E9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0" name="Textplatzhalter 12">
            <a:extLst>
              <a:ext uri="{FF2B5EF4-FFF2-40B4-BE49-F238E27FC236}">
                <a16:creationId xmlns:a16="http://schemas.microsoft.com/office/drawing/2014/main" id="{2DD13305-EDD9-442A-B5DD-464D67D8945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609040"/>
            <a:ext cx="12192000" cy="663053"/>
          </a:xfrm>
          <a:solidFill>
            <a:srgbClr val="0F2DB3"/>
          </a:solidFill>
        </p:spPr>
        <p:txBody>
          <a:bodyPr wrap="square" lIns="518400" tIns="54000" bIns="54000" anchor="ctr" anchorCtr="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chemeClr val="bg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01</a:t>
            </a:r>
          </a:p>
        </p:txBody>
      </p:sp>
      <p:sp>
        <p:nvSpPr>
          <p:cNvPr id="61" name="Textplatzhalter 12">
            <a:extLst>
              <a:ext uri="{FF2B5EF4-FFF2-40B4-BE49-F238E27FC236}">
                <a16:creationId xmlns:a16="http://schemas.microsoft.com/office/drawing/2014/main" id="{8C6B7371-9556-494C-BAFC-7DFF75248A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2890990"/>
            <a:ext cx="12192000" cy="663053"/>
          </a:xfrm>
        </p:spPr>
        <p:txBody>
          <a:bodyPr wrap="square" lIns="518400" tIns="54000" bIns="54000" anchor="ctr" anchorCtr="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rgbClr val="0F2DB3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03</a:t>
            </a:r>
          </a:p>
        </p:txBody>
      </p:sp>
      <p:sp>
        <p:nvSpPr>
          <p:cNvPr id="62" name="Textplatzhalter 12">
            <a:extLst>
              <a:ext uri="{FF2B5EF4-FFF2-40B4-BE49-F238E27FC236}">
                <a16:creationId xmlns:a16="http://schemas.microsoft.com/office/drawing/2014/main" id="{C7DE99D6-5DC2-4A4C-9D8F-55BB11C9D68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0" y="3531965"/>
            <a:ext cx="12192000" cy="663053"/>
          </a:xfrm>
        </p:spPr>
        <p:txBody>
          <a:bodyPr wrap="square" lIns="518400" tIns="54000" bIns="54000" anchor="ctr" anchorCtr="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rgbClr val="0F2DB3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04</a:t>
            </a:r>
          </a:p>
        </p:txBody>
      </p:sp>
      <p:sp>
        <p:nvSpPr>
          <p:cNvPr id="63" name="Textplatzhalter 12">
            <a:extLst>
              <a:ext uri="{FF2B5EF4-FFF2-40B4-BE49-F238E27FC236}">
                <a16:creationId xmlns:a16="http://schemas.microsoft.com/office/drawing/2014/main" id="{23723DAB-6D78-4724-8772-28387EA5B47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4172940"/>
            <a:ext cx="12192000" cy="663053"/>
          </a:xfrm>
        </p:spPr>
        <p:txBody>
          <a:bodyPr wrap="square" lIns="518400" tIns="54000" bIns="54000" anchor="ctr" anchorCtr="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rgbClr val="0F2DB3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05</a:t>
            </a:r>
          </a:p>
        </p:txBody>
      </p:sp>
      <p:sp>
        <p:nvSpPr>
          <p:cNvPr id="64" name="Textplatzhalter 12">
            <a:extLst>
              <a:ext uri="{FF2B5EF4-FFF2-40B4-BE49-F238E27FC236}">
                <a16:creationId xmlns:a16="http://schemas.microsoft.com/office/drawing/2014/main" id="{769E9AD8-F60D-43DC-BF3A-5026662A372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4813915"/>
            <a:ext cx="12192000" cy="663053"/>
          </a:xfrm>
        </p:spPr>
        <p:txBody>
          <a:bodyPr wrap="square" lIns="518400" tIns="54000" bIns="54000" anchor="ctr" anchorCtr="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rgbClr val="0F2DB3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06</a:t>
            </a:r>
          </a:p>
        </p:txBody>
      </p:sp>
      <p:sp>
        <p:nvSpPr>
          <p:cNvPr id="65" name="Textplatzhalter 12">
            <a:extLst>
              <a:ext uri="{FF2B5EF4-FFF2-40B4-BE49-F238E27FC236}">
                <a16:creationId xmlns:a16="http://schemas.microsoft.com/office/drawing/2014/main" id="{1081EFB9-FE18-4F3C-8672-EB70FF7EA82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5454892"/>
            <a:ext cx="12192000" cy="663053"/>
          </a:xfrm>
        </p:spPr>
        <p:txBody>
          <a:bodyPr wrap="square" lIns="518400" tIns="54000" bIns="54000" anchor="ctr" anchorCtr="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rgbClr val="0F2DB3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07</a:t>
            </a:r>
          </a:p>
        </p:txBody>
      </p:sp>
      <p:sp>
        <p:nvSpPr>
          <p:cNvPr id="66" name="Textplatzhalter 12">
            <a:extLst>
              <a:ext uri="{FF2B5EF4-FFF2-40B4-BE49-F238E27FC236}">
                <a16:creationId xmlns:a16="http://schemas.microsoft.com/office/drawing/2014/main" id="{E94757B5-7F5A-4E0B-840E-C22292BF9CC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0" y="2250015"/>
            <a:ext cx="12192000" cy="663053"/>
          </a:xfrm>
        </p:spPr>
        <p:txBody>
          <a:bodyPr wrap="square" lIns="518400" tIns="54000" bIns="54000" anchor="ctr" anchorCtr="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rgbClr val="0F2DB3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 dirty="0"/>
              <a:t>02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008D678-508B-4EAC-8996-9B20ADAA3B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Edit Master Cover Format</a:t>
            </a:r>
          </a:p>
        </p:txBody>
      </p:sp>
      <p:sp>
        <p:nvSpPr>
          <p:cNvPr id="54" name="Textplatzhalter 8">
            <a:extLst>
              <a:ext uri="{FF2B5EF4-FFF2-40B4-BE49-F238E27FC236}">
                <a16:creationId xmlns:a16="http://schemas.microsoft.com/office/drawing/2014/main" id="{BB278DD4-3FCE-4782-AF12-45EC1832917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ZEISS Frutiger Next W1G" panose="020B0503040204020203" pitchFamily="34" charset="0"/>
              </a:defRPr>
            </a:lvl1pPr>
          </a:lstStyle>
          <a:p>
            <a:pPr lvl="0"/>
            <a:r>
              <a:rPr lang="en-US" noProof="0" dirty="0"/>
              <a:t>Edit master text format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10C57EE4-17A8-41AE-AD8F-0C906241B73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108694" y="1713196"/>
            <a:ext cx="5131769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 dirty="0"/>
              <a:t>Overwrite number and add agenda item</a:t>
            </a:r>
          </a:p>
        </p:txBody>
      </p:sp>
      <p:sp>
        <p:nvSpPr>
          <p:cNvPr id="29" name="Textplatzhalter 27">
            <a:extLst>
              <a:ext uri="{FF2B5EF4-FFF2-40B4-BE49-F238E27FC236}">
                <a16:creationId xmlns:a16="http://schemas.microsoft.com/office/drawing/2014/main" id="{EDC138DF-81E8-468E-BE50-5A359E245AF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08694" y="5559048"/>
            <a:ext cx="5131769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 dirty="0"/>
              <a:t>Overwrite number and add agenda item</a:t>
            </a:r>
          </a:p>
        </p:txBody>
      </p:sp>
      <p:sp>
        <p:nvSpPr>
          <p:cNvPr id="30" name="Textplatzhalter 27">
            <a:extLst>
              <a:ext uri="{FF2B5EF4-FFF2-40B4-BE49-F238E27FC236}">
                <a16:creationId xmlns:a16="http://schemas.microsoft.com/office/drawing/2014/main" id="{E67A7442-A1B4-49EA-9268-A28469018AD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108694" y="4918071"/>
            <a:ext cx="5131769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Overwrite number and add agenda item</a:t>
            </a:r>
            <a:endParaRPr lang="en-US" noProof="0" dirty="0"/>
          </a:p>
        </p:txBody>
      </p:sp>
      <p:sp>
        <p:nvSpPr>
          <p:cNvPr id="31" name="Textplatzhalter 27">
            <a:extLst>
              <a:ext uri="{FF2B5EF4-FFF2-40B4-BE49-F238E27FC236}">
                <a16:creationId xmlns:a16="http://schemas.microsoft.com/office/drawing/2014/main" id="{9B7A6C1A-6494-4115-8E54-99DC0DB45D2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108694" y="4277096"/>
            <a:ext cx="5131769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Overwrite number and add agenda item</a:t>
            </a:r>
            <a:endParaRPr lang="en-US" noProof="0" dirty="0"/>
          </a:p>
        </p:txBody>
      </p:sp>
      <p:sp>
        <p:nvSpPr>
          <p:cNvPr id="32" name="Textplatzhalter 27">
            <a:extLst>
              <a:ext uri="{FF2B5EF4-FFF2-40B4-BE49-F238E27FC236}">
                <a16:creationId xmlns:a16="http://schemas.microsoft.com/office/drawing/2014/main" id="{9D8685BE-5979-43B0-AC0C-74054987778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108694" y="3636121"/>
            <a:ext cx="5131769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Overwrite number and add agenda item</a:t>
            </a:r>
            <a:endParaRPr lang="en-US" noProof="0" dirty="0"/>
          </a:p>
        </p:txBody>
      </p:sp>
      <p:sp>
        <p:nvSpPr>
          <p:cNvPr id="34" name="Textplatzhalter 27">
            <a:extLst>
              <a:ext uri="{FF2B5EF4-FFF2-40B4-BE49-F238E27FC236}">
                <a16:creationId xmlns:a16="http://schemas.microsoft.com/office/drawing/2014/main" id="{F5438DE9-D033-4100-9761-E4FFFC202FE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08694" y="2354171"/>
            <a:ext cx="5131769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Overwrite number and add agenda item</a:t>
            </a:r>
            <a:endParaRPr lang="en-US" noProof="0" dirty="0"/>
          </a:p>
        </p:txBody>
      </p:sp>
      <p:sp>
        <p:nvSpPr>
          <p:cNvPr id="55" name="Textplatzhalter 27">
            <a:extLst>
              <a:ext uri="{FF2B5EF4-FFF2-40B4-BE49-F238E27FC236}">
                <a16:creationId xmlns:a16="http://schemas.microsoft.com/office/drawing/2014/main" id="{40334521-65D4-4254-A9E2-9118257ED99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108694" y="2995146"/>
            <a:ext cx="5131769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Overwrite number and add agenda item</a:t>
            </a:r>
            <a:endParaRPr lang="en-US" noProof="0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70E7E3D-C5E8-4192-8487-4B03A1CE2C7D}"/>
              </a:ext>
            </a:extLst>
          </p:cNvPr>
          <p:cNvSpPr>
            <a:spLocks noGrp="1"/>
          </p:cNvSpPr>
          <p:nvPr>
            <p:ph type="dt" sz="half" idx="42"/>
          </p:nvPr>
        </p:nvSpPr>
        <p:spPr/>
        <p:txBody>
          <a:bodyPr/>
          <a:lstStyle/>
          <a:p>
            <a:fld id="{A86A96C2-6B2C-4C35-A9F7-380F5F2578D4}" type="datetime3">
              <a:rPr lang="en-US" noProof="0" smtClean="0"/>
              <a:t>4 June 2025</a:t>
            </a:fld>
            <a:endParaRPr lang="en-US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BDCF847F-24AB-4444-A96D-7170F7D6FA4C}"/>
              </a:ext>
            </a:extLst>
          </p:cNvPr>
          <p:cNvSpPr>
            <a:spLocks noGrp="1"/>
          </p:cNvSpPr>
          <p:nvPr>
            <p:ph type="ftr" sz="quarter" idx="43"/>
          </p:nvPr>
        </p:nvSpPr>
        <p:spPr/>
        <p:txBody>
          <a:bodyPr/>
          <a:lstStyle/>
          <a:p>
            <a:r>
              <a:rPr lang="en-US" noProof="0"/>
              <a:t>ZEISS</a:t>
            </a:r>
            <a:endParaRPr lang="en-US" noProof="0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84C0AB1-317D-4014-8C5F-AF4B544E74C4}"/>
              </a:ext>
            </a:extLst>
          </p:cNvPr>
          <p:cNvSpPr>
            <a:spLocks noGrp="1"/>
          </p:cNvSpPr>
          <p:nvPr>
            <p:ph type="sldNum" sz="quarter" idx="44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35" name="Textplatzhalter 27">
            <a:extLst>
              <a:ext uri="{FF2B5EF4-FFF2-40B4-BE49-F238E27FC236}">
                <a16:creationId xmlns:a16="http://schemas.microsoft.com/office/drawing/2014/main" id="{5D1F0EEC-FD48-4FB3-810E-FD14CD7BC286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7969191" y="1713197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de-DE" noProof="0" dirty="0"/>
              <a:t>Add Speaker</a:t>
            </a:r>
          </a:p>
        </p:txBody>
      </p:sp>
      <p:sp>
        <p:nvSpPr>
          <p:cNvPr id="36" name="Textplatzhalter 27">
            <a:extLst>
              <a:ext uri="{FF2B5EF4-FFF2-40B4-BE49-F238E27FC236}">
                <a16:creationId xmlns:a16="http://schemas.microsoft.com/office/drawing/2014/main" id="{918D07F7-4ACB-4BC3-B11D-0FF0B3A4B90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0509624" y="1713197"/>
            <a:ext cx="1166403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 dirty="0"/>
              <a:t>XX:XX – XX:XX</a:t>
            </a:r>
          </a:p>
        </p:txBody>
      </p:sp>
      <p:sp>
        <p:nvSpPr>
          <p:cNvPr id="37" name="Textplatzhalter 27">
            <a:extLst>
              <a:ext uri="{FF2B5EF4-FFF2-40B4-BE49-F238E27FC236}">
                <a16:creationId xmlns:a16="http://schemas.microsoft.com/office/drawing/2014/main" id="{E6D3B839-D89D-4F63-8BF4-A73794E01900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969191" y="5559049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de-DE" noProof="0"/>
              <a:t>Add Speaker</a:t>
            </a:r>
            <a:endParaRPr lang="de-DE" noProof="0" dirty="0"/>
          </a:p>
        </p:txBody>
      </p:sp>
      <p:sp>
        <p:nvSpPr>
          <p:cNvPr id="38" name="Textplatzhalter 27">
            <a:extLst>
              <a:ext uri="{FF2B5EF4-FFF2-40B4-BE49-F238E27FC236}">
                <a16:creationId xmlns:a16="http://schemas.microsoft.com/office/drawing/2014/main" id="{0046F955-E9B3-41EA-A5CF-4905849F77DD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0509624" y="5559049"/>
            <a:ext cx="1166403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 dirty="0"/>
              <a:t>XX:XX – XX:XX</a:t>
            </a:r>
          </a:p>
        </p:txBody>
      </p:sp>
      <p:sp>
        <p:nvSpPr>
          <p:cNvPr id="39" name="Textplatzhalter 27">
            <a:extLst>
              <a:ext uri="{FF2B5EF4-FFF2-40B4-BE49-F238E27FC236}">
                <a16:creationId xmlns:a16="http://schemas.microsoft.com/office/drawing/2014/main" id="{E56CCD57-2A45-418D-BC05-2BC530B9048B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969191" y="4918072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de-DE" noProof="0"/>
              <a:t>Add Speaker</a:t>
            </a:r>
            <a:endParaRPr lang="de-DE" noProof="0" dirty="0"/>
          </a:p>
        </p:txBody>
      </p:sp>
      <p:sp>
        <p:nvSpPr>
          <p:cNvPr id="40" name="Textplatzhalter 27">
            <a:extLst>
              <a:ext uri="{FF2B5EF4-FFF2-40B4-BE49-F238E27FC236}">
                <a16:creationId xmlns:a16="http://schemas.microsoft.com/office/drawing/2014/main" id="{3E528590-4FE2-488F-9DC6-35CDF609E8B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0509624" y="4918072"/>
            <a:ext cx="1166403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 dirty="0"/>
              <a:t>XX:XX – XX:XX</a:t>
            </a:r>
          </a:p>
        </p:txBody>
      </p:sp>
      <p:sp>
        <p:nvSpPr>
          <p:cNvPr id="41" name="Textplatzhalter 27">
            <a:extLst>
              <a:ext uri="{FF2B5EF4-FFF2-40B4-BE49-F238E27FC236}">
                <a16:creationId xmlns:a16="http://schemas.microsoft.com/office/drawing/2014/main" id="{24ACE534-D550-4823-937E-5E86B5B0FBB6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969191" y="4277097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de-DE" noProof="0"/>
              <a:t>Add Speaker</a:t>
            </a:r>
            <a:endParaRPr lang="de-DE" noProof="0" dirty="0"/>
          </a:p>
        </p:txBody>
      </p:sp>
      <p:sp>
        <p:nvSpPr>
          <p:cNvPr id="42" name="Textplatzhalter 27">
            <a:extLst>
              <a:ext uri="{FF2B5EF4-FFF2-40B4-BE49-F238E27FC236}">
                <a16:creationId xmlns:a16="http://schemas.microsoft.com/office/drawing/2014/main" id="{69C3BCC9-69D3-4C3E-A8DE-517F0C7F2FA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10509624" y="4277097"/>
            <a:ext cx="1166403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 dirty="0"/>
              <a:t>XX:XX – XX:XX</a:t>
            </a:r>
          </a:p>
        </p:txBody>
      </p:sp>
      <p:sp>
        <p:nvSpPr>
          <p:cNvPr id="43" name="Textplatzhalter 27">
            <a:extLst>
              <a:ext uri="{FF2B5EF4-FFF2-40B4-BE49-F238E27FC236}">
                <a16:creationId xmlns:a16="http://schemas.microsoft.com/office/drawing/2014/main" id="{0E48227E-5F12-4125-A9F9-EA5D13021945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969191" y="3636122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de-DE" noProof="0"/>
              <a:t>Add Speaker</a:t>
            </a:r>
            <a:endParaRPr lang="de-DE" noProof="0" dirty="0"/>
          </a:p>
        </p:txBody>
      </p:sp>
      <p:sp>
        <p:nvSpPr>
          <p:cNvPr id="47" name="Textplatzhalter 27">
            <a:extLst>
              <a:ext uri="{FF2B5EF4-FFF2-40B4-BE49-F238E27FC236}">
                <a16:creationId xmlns:a16="http://schemas.microsoft.com/office/drawing/2014/main" id="{891587E3-988F-4B4A-B30A-FD6BB8336F5C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0509624" y="3636122"/>
            <a:ext cx="1166403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 dirty="0"/>
              <a:t>XX:XX – XX:XX</a:t>
            </a:r>
          </a:p>
        </p:txBody>
      </p:sp>
      <p:sp>
        <p:nvSpPr>
          <p:cNvPr id="48" name="Textplatzhalter 27">
            <a:extLst>
              <a:ext uri="{FF2B5EF4-FFF2-40B4-BE49-F238E27FC236}">
                <a16:creationId xmlns:a16="http://schemas.microsoft.com/office/drawing/2014/main" id="{983071D8-3C1D-4F32-A4AC-97A0A35658F0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7969191" y="2995147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de-DE" noProof="0"/>
              <a:t>Add Speaker</a:t>
            </a:r>
            <a:endParaRPr lang="de-DE" noProof="0" dirty="0"/>
          </a:p>
        </p:txBody>
      </p:sp>
      <p:sp>
        <p:nvSpPr>
          <p:cNvPr id="49" name="Textplatzhalter 27">
            <a:extLst>
              <a:ext uri="{FF2B5EF4-FFF2-40B4-BE49-F238E27FC236}">
                <a16:creationId xmlns:a16="http://schemas.microsoft.com/office/drawing/2014/main" id="{2A8B2701-9772-4251-BD49-3E07FD4C80D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10509624" y="2995147"/>
            <a:ext cx="1166403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 dirty="0"/>
              <a:t>XX:XX – XX:XX</a:t>
            </a:r>
          </a:p>
        </p:txBody>
      </p:sp>
      <p:sp>
        <p:nvSpPr>
          <p:cNvPr id="50" name="Textplatzhalter 27">
            <a:extLst>
              <a:ext uri="{FF2B5EF4-FFF2-40B4-BE49-F238E27FC236}">
                <a16:creationId xmlns:a16="http://schemas.microsoft.com/office/drawing/2014/main" id="{3F0A58D0-C03A-4E00-9478-99DDF7BCEBFD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7969191" y="2354172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de-DE" noProof="0"/>
              <a:t>Add Speaker</a:t>
            </a:r>
            <a:endParaRPr lang="de-DE" noProof="0" dirty="0"/>
          </a:p>
        </p:txBody>
      </p:sp>
      <p:sp>
        <p:nvSpPr>
          <p:cNvPr id="51" name="Textplatzhalter 27">
            <a:extLst>
              <a:ext uri="{FF2B5EF4-FFF2-40B4-BE49-F238E27FC236}">
                <a16:creationId xmlns:a16="http://schemas.microsoft.com/office/drawing/2014/main" id="{1BDCE48B-10A1-4245-A9EB-59CC9374FB9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10509624" y="2354172"/>
            <a:ext cx="1166403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 dirty="0"/>
              <a:t>XX:XX – XX:XX</a:t>
            </a:r>
          </a:p>
        </p:txBody>
      </p:sp>
    </p:spTree>
    <p:extLst>
      <p:ext uri="{BB962C8B-B14F-4D97-AF65-F5344CB8AC3E}">
        <p14:creationId xmlns:p14="http://schemas.microsoft.com/office/powerpoint/2010/main" val="18100460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|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Bildplatzhalter 86">
            <a:extLst>
              <a:ext uri="{FF2B5EF4-FFF2-40B4-BE49-F238E27FC236}">
                <a16:creationId xmlns:a16="http://schemas.microsoft.com/office/drawing/2014/main" id="{FB389B10-F29E-47A3-8BD0-A0132B3B5CEB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0" y="3429000"/>
            <a:ext cx="12191985" cy="342900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US" noProof="0"/>
              <a:t> </a:t>
            </a:r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5D536C54-AD88-4971-B5AC-E8FD5A475273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18319" y="2681949"/>
            <a:ext cx="10086181" cy="349519"/>
          </a:xfrm>
        </p:spPr>
        <p:txBody>
          <a:bodyPr wrap="square">
            <a:spAutoFit/>
          </a:bodyPr>
          <a:lstStyle>
            <a:lvl1pPr>
              <a:lnSpc>
                <a:spcPct val="120000"/>
              </a:lnSpc>
              <a:spcAft>
                <a:spcPts val="0"/>
              </a:spcAft>
              <a:defRPr sz="2000">
                <a:solidFill>
                  <a:srgbClr val="0F2DB3"/>
                </a:solidFill>
                <a:latin typeface="ZEISS Frutiger Next W1G"/>
                <a:cs typeface="ZEISS Frutiger Next W1G" panose="020B0503040204020203" pitchFamily="34" charset="0"/>
              </a:defRPr>
            </a:lvl1pPr>
          </a:lstStyle>
          <a:p>
            <a:pPr lvl="0"/>
            <a:r>
              <a:rPr lang="en-US" noProof="0" dirty="0"/>
              <a:t>Edit master text format</a:t>
            </a:r>
          </a:p>
        </p:txBody>
      </p:sp>
      <p:sp>
        <p:nvSpPr>
          <p:cNvPr id="88" name="Titel 1">
            <a:extLst>
              <a:ext uri="{FF2B5EF4-FFF2-40B4-BE49-F238E27FC236}">
                <a16:creationId xmlns:a16="http://schemas.microsoft.com/office/drawing/2014/main" id="{6E836B88-8EA3-4A7F-B203-70EF11B1F6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9" y="1052513"/>
            <a:ext cx="10086181" cy="1370806"/>
          </a:xfrm>
        </p:spPr>
        <p:txBody>
          <a:bodyPr wrap="square" anchor="b" anchorCtr="0">
            <a:noAutofit/>
          </a:bodyPr>
          <a:lstStyle>
            <a:lvl1pPr>
              <a:lnSpc>
                <a:spcPts val="5000"/>
              </a:lnSpc>
              <a:defRPr sz="4500" b="0">
                <a:latin typeface="+mj-lt"/>
                <a:cs typeface="ZEISS Frutiger Next W1G" panose="020B0503040204020203" pitchFamily="34" charset="0"/>
              </a:defRPr>
            </a:lvl1pPr>
          </a:lstStyle>
          <a:p>
            <a:r>
              <a:rPr lang="en-US" noProof="0" dirty="0"/>
              <a:t>Edit Master Cover Format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9448314C-C2ED-CA6D-6996-5230E8F8E397}"/>
              </a:ext>
            </a:extLst>
          </p:cNvPr>
          <p:cNvGrpSpPr/>
          <p:nvPr/>
        </p:nvGrpSpPr>
        <p:grpSpPr>
          <a:xfrm>
            <a:off x="304116" y="-697714"/>
            <a:ext cx="11370764" cy="411957"/>
            <a:chOff x="304116" y="6944502"/>
            <a:chExt cx="11370764" cy="411957"/>
          </a:xfrm>
        </p:grpSpPr>
        <p:grpSp>
          <p:nvGrpSpPr>
            <p:cNvPr id="3" name="Gruppieren 2">
              <a:extLst>
                <a:ext uri="{FF2B5EF4-FFF2-40B4-BE49-F238E27FC236}">
                  <a16:creationId xmlns:a16="http://schemas.microsoft.com/office/drawing/2014/main" id="{3EC20D7A-7F2A-B540-95E0-E43A7C1A88F0}"/>
                </a:ext>
              </a:extLst>
            </p:cNvPr>
            <p:cNvGrpSpPr/>
            <p:nvPr/>
          </p:nvGrpSpPr>
          <p:grpSpPr>
            <a:xfrm rot="16200000">
              <a:off x="204049" y="7044570"/>
              <a:ext cx="411956" cy="211821"/>
              <a:chOff x="-615197" y="4299854"/>
              <a:chExt cx="411956" cy="211821"/>
            </a:xfrm>
          </p:grpSpPr>
          <p:cxnSp>
            <p:nvCxnSpPr>
              <p:cNvPr id="15" name="Gerader Verbinder 14">
                <a:extLst>
                  <a:ext uri="{FF2B5EF4-FFF2-40B4-BE49-F238E27FC236}">
                    <a16:creationId xmlns:a16="http://schemas.microsoft.com/office/drawing/2014/main" id="{92588BB9-23E5-71F7-E7F7-333231A4907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" name="Textfeld 15">
                <a:extLst>
                  <a:ext uri="{FF2B5EF4-FFF2-40B4-BE49-F238E27FC236}">
                    <a16:creationId xmlns:a16="http://schemas.microsoft.com/office/drawing/2014/main" id="{5F21CAD7-3065-B7FE-BE9E-2AC605AD1D95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15.50</a:t>
                </a:r>
              </a:p>
            </p:txBody>
          </p:sp>
        </p:grpSp>
        <p:grpSp>
          <p:nvGrpSpPr>
            <p:cNvPr id="4" name="Gruppieren 3">
              <a:extLst>
                <a:ext uri="{FF2B5EF4-FFF2-40B4-BE49-F238E27FC236}">
                  <a16:creationId xmlns:a16="http://schemas.microsoft.com/office/drawing/2014/main" id="{83B5569B-A939-E7D3-9FF4-BCD2FB25560B}"/>
                </a:ext>
              </a:extLst>
            </p:cNvPr>
            <p:cNvGrpSpPr/>
            <p:nvPr/>
          </p:nvGrpSpPr>
          <p:grpSpPr>
            <a:xfrm rot="16200000">
              <a:off x="5639649" y="7044570"/>
              <a:ext cx="411956" cy="211821"/>
              <a:chOff x="-615197" y="4299854"/>
              <a:chExt cx="411956" cy="211821"/>
            </a:xfrm>
          </p:grpSpPr>
          <p:cxnSp>
            <p:nvCxnSpPr>
              <p:cNvPr id="13" name="Gerader Verbinder 12">
                <a:extLst>
                  <a:ext uri="{FF2B5EF4-FFF2-40B4-BE49-F238E27FC236}">
                    <a16:creationId xmlns:a16="http://schemas.microsoft.com/office/drawing/2014/main" id="{5718662E-235C-56D2-9BE4-2AACD698E23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4" name="Textfeld 13">
                <a:extLst>
                  <a:ext uri="{FF2B5EF4-FFF2-40B4-BE49-F238E27FC236}">
                    <a16:creationId xmlns:a16="http://schemas.microsoft.com/office/drawing/2014/main" id="{A1D1C244-0574-057B-CDE6-81773D0DCAB6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0.40</a:t>
                </a:r>
              </a:p>
            </p:txBody>
          </p:sp>
        </p:grpSp>
        <p:grpSp>
          <p:nvGrpSpPr>
            <p:cNvPr id="5" name="Gruppieren 4">
              <a:extLst>
                <a:ext uri="{FF2B5EF4-FFF2-40B4-BE49-F238E27FC236}">
                  <a16:creationId xmlns:a16="http://schemas.microsoft.com/office/drawing/2014/main" id="{86CA9CA3-8E6F-A29D-554D-7B1177B04184}"/>
                </a:ext>
              </a:extLst>
            </p:cNvPr>
            <p:cNvGrpSpPr/>
            <p:nvPr/>
          </p:nvGrpSpPr>
          <p:grpSpPr>
            <a:xfrm rot="5400000">
              <a:off x="6093326" y="7046990"/>
              <a:ext cx="411956" cy="206980"/>
              <a:chOff x="-615197" y="4350961"/>
              <a:chExt cx="411956" cy="206980"/>
            </a:xfrm>
          </p:grpSpPr>
          <p:cxnSp>
            <p:nvCxnSpPr>
              <p:cNvPr id="11" name="Gerader Verbinder 10">
                <a:extLst>
                  <a:ext uri="{FF2B5EF4-FFF2-40B4-BE49-F238E27FC236}">
                    <a16:creationId xmlns:a16="http://schemas.microsoft.com/office/drawing/2014/main" id="{F6065C10-3E07-EDF7-7A01-B92AA9E1518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" name="Textfeld 11">
                <a:extLst>
                  <a:ext uri="{FF2B5EF4-FFF2-40B4-BE49-F238E27FC236}">
                    <a16:creationId xmlns:a16="http://schemas.microsoft.com/office/drawing/2014/main" id="{F39AC09F-C048-9A84-2E6D-C9DE3F8A1DE5}"/>
                  </a:ext>
                </a:extLst>
              </p:cNvPr>
              <p:cNvSpPr txBox="1"/>
              <p:nvPr/>
            </p:nvSpPr>
            <p:spPr>
              <a:xfrm rot="10800000">
                <a:off x="-615197" y="4350961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0.40</a:t>
                </a:r>
              </a:p>
            </p:txBody>
          </p:sp>
        </p:grp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214331AC-15A1-1031-45D6-EBA8E22E8FD5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5890022" y="7150480"/>
              <a:ext cx="411956" cy="0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" name="Gruppieren 6">
              <a:extLst>
                <a:ext uri="{FF2B5EF4-FFF2-40B4-BE49-F238E27FC236}">
                  <a16:creationId xmlns:a16="http://schemas.microsoft.com/office/drawing/2014/main" id="{CD1EB07D-F647-C783-B58D-A8C4E22CCFCA}"/>
                </a:ext>
              </a:extLst>
            </p:cNvPr>
            <p:cNvGrpSpPr/>
            <p:nvPr/>
          </p:nvGrpSpPr>
          <p:grpSpPr>
            <a:xfrm rot="16200000">
              <a:off x="11362992" y="7044570"/>
              <a:ext cx="411956" cy="211821"/>
              <a:chOff x="-615197" y="4299854"/>
              <a:chExt cx="411956" cy="211821"/>
            </a:xfrm>
          </p:grpSpPr>
          <p:cxnSp>
            <p:nvCxnSpPr>
              <p:cNvPr id="9" name="Gerader Verbinder 8">
                <a:extLst>
                  <a:ext uri="{FF2B5EF4-FFF2-40B4-BE49-F238E27FC236}">
                    <a16:creationId xmlns:a16="http://schemas.microsoft.com/office/drawing/2014/main" id="{C96FC0D8-245D-8F97-B363-5FDFC2C871E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3A5D48DC-838D-B554-7418-092901D558B8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15.50</a:t>
                </a:r>
              </a:p>
            </p:txBody>
          </p:sp>
        </p:grpSp>
      </p:grp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200E8D5E-EB23-B625-534A-B83A7D3509D4}"/>
              </a:ext>
            </a:extLst>
          </p:cNvPr>
          <p:cNvGrpSpPr/>
          <p:nvPr/>
        </p:nvGrpSpPr>
        <p:grpSpPr>
          <a:xfrm>
            <a:off x="-697714" y="80201"/>
            <a:ext cx="411956" cy="6720119"/>
            <a:chOff x="-502267" y="80201"/>
            <a:chExt cx="411956" cy="6720119"/>
          </a:xfrm>
        </p:grpSpPr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12B82193-E884-6A5A-A1C5-3124DD767E43}"/>
                </a:ext>
              </a:extLst>
            </p:cNvPr>
            <p:cNvGrpSpPr/>
            <p:nvPr/>
          </p:nvGrpSpPr>
          <p:grpSpPr>
            <a:xfrm>
              <a:off x="-502267" y="6593340"/>
              <a:ext cx="411956" cy="206980"/>
              <a:chOff x="-615197" y="4452994"/>
              <a:chExt cx="411956" cy="206980"/>
            </a:xfrm>
          </p:grpSpPr>
          <p:sp>
            <p:nvSpPr>
              <p:cNvPr id="34" name="Textfeld 33">
                <a:extLst>
                  <a:ext uri="{FF2B5EF4-FFF2-40B4-BE49-F238E27FC236}">
                    <a16:creationId xmlns:a16="http://schemas.microsoft.com/office/drawing/2014/main" id="{08DEC551-F682-C883-5B5B-C7D89C5D5235}"/>
                  </a:ext>
                </a:extLst>
              </p:cNvPr>
              <p:cNvSpPr txBox="1"/>
              <p:nvPr/>
            </p:nvSpPr>
            <p:spPr>
              <a:xfrm>
                <a:off x="-615197" y="445299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8.92</a:t>
                </a:r>
              </a:p>
            </p:txBody>
          </p:sp>
          <p:cxnSp>
            <p:nvCxnSpPr>
              <p:cNvPr id="35" name="Gerader Verbinder 34">
                <a:extLst>
                  <a:ext uri="{FF2B5EF4-FFF2-40B4-BE49-F238E27FC236}">
                    <a16:creationId xmlns:a16="http://schemas.microsoft.com/office/drawing/2014/main" id="{84BC9BE8-F82A-F2AA-1B5F-7BCC48693AA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97389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uppieren 18">
              <a:extLst>
                <a:ext uri="{FF2B5EF4-FFF2-40B4-BE49-F238E27FC236}">
                  <a16:creationId xmlns:a16="http://schemas.microsoft.com/office/drawing/2014/main" id="{270BB8C2-260E-13CD-E21E-F48E2CF649DB}"/>
                </a:ext>
              </a:extLst>
            </p:cNvPr>
            <p:cNvGrpSpPr/>
            <p:nvPr/>
          </p:nvGrpSpPr>
          <p:grpSpPr>
            <a:xfrm>
              <a:off x="-502267" y="5876163"/>
              <a:ext cx="411956" cy="216662"/>
              <a:chOff x="-615197" y="4295013"/>
              <a:chExt cx="411956" cy="216662"/>
            </a:xfrm>
          </p:grpSpPr>
          <p:cxnSp>
            <p:nvCxnSpPr>
              <p:cNvPr id="32" name="Gerader Verbinder 31">
                <a:extLst>
                  <a:ext uri="{FF2B5EF4-FFF2-40B4-BE49-F238E27FC236}">
                    <a16:creationId xmlns:a16="http://schemas.microsoft.com/office/drawing/2014/main" id="{CF9690F7-E02A-7BA4-2966-74CBE4499C0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" name="Textfeld 32">
                <a:extLst>
                  <a:ext uri="{FF2B5EF4-FFF2-40B4-BE49-F238E27FC236}">
                    <a16:creationId xmlns:a16="http://schemas.microsoft.com/office/drawing/2014/main" id="{CEC01D19-DECF-25D1-3E7C-2D0CB22857B9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7.40</a:t>
                </a:r>
              </a:p>
            </p:txBody>
          </p:sp>
        </p:grpSp>
        <p:grpSp>
          <p:nvGrpSpPr>
            <p:cNvPr id="20" name="Gruppieren 19">
              <a:extLst>
                <a:ext uri="{FF2B5EF4-FFF2-40B4-BE49-F238E27FC236}">
                  <a16:creationId xmlns:a16="http://schemas.microsoft.com/office/drawing/2014/main" id="{B9E2328E-CEBB-9501-3BC8-B4707D868DDC}"/>
                </a:ext>
              </a:extLst>
            </p:cNvPr>
            <p:cNvGrpSpPr/>
            <p:nvPr/>
          </p:nvGrpSpPr>
          <p:grpSpPr>
            <a:xfrm>
              <a:off x="-502267" y="3212338"/>
              <a:ext cx="411956" cy="216662"/>
              <a:chOff x="-615197" y="4295013"/>
              <a:chExt cx="411956" cy="216662"/>
            </a:xfrm>
          </p:grpSpPr>
          <p:cxnSp>
            <p:nvCxnSpPr>
              <p:cNvPr id="30" name="Gerader Verbinder 29">
                <a:extLst>
                  <a:ext uri="{FF2B5EF4-FFF2-40B4-BE49-F238E27FC236}">
                    <a16:creationId xmlns:a16="http://schemas.microsoft.com/office/drawing/2014/main" id="{552E295A-A461-B9AE-B96D-08197A3105F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1" name="Textfeld 30">
                <a:extLst>
                  <a:ext uri="{FF2B5EF4-FFF2-40B4-BE49-F238E27FC236}">
                    <a16:creationId xmlns:a16="http://schemas.microsoft.com/office/drawing/2014/main" id="{BA70D211-4D41-31BD-5E1F-151DE039E338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0.00</a:t>
                </a:r>
              </a:p>
            </p:txBody>
          </p:sp>
        </p:grpSp>
        <p:grpSp>
          <p:nvGrpSpPr>
            <p:cNvPr id="21" name="Gruppieren 20">
              <a:extLst>
                <a:ext uri="{FF2B5EF4-FFF2-40B4-BE49-F238E27FC236}">
                  <a16:creationId xmlns:a16="http://schemas.microsoft.com/office/drawing/2014/main" id="{6703F834-AD3B-7D58-451E-BFAFF5D5FCF3}"/>
                </a:ext>
              </a:extLst>
            </p:cNvPr>
            <p:cNvGrpSpPr/>
            <p:nvPr/>
          </p:nvGrpSpPr>
          <p:grpSpPr>
            <a:xfrm>
              <a:off x="-502267" y="835851"/>
              <a:ext cx="411956" cy="216662"/>
              <a:chOff x="-615197" y="4295013"/>
              <a:chExt cx="411956" cy="216662"/>
            </a:xfrm>
          </p:grpSpPr>
          <p:cxnSp>
            <p:nvCxnSpPr>
              <p:cNvPr id="28" name="Gerader Verbinder 27">
                <a:extLst>
                  <a:ext uri="{FF2B5EF4-FFF2-40B4-BE49-F238E27FC236}">
                    <a16:creationId xmlns:a16="http://schemas.microsoft.com/office/drawing/2014/main" id="{1700F09F-092E-F101-2E57-AF817A46E89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9" name="Textfeld 28">
                <a:extLst>
                  <a:ext uri="{FF2B5EF4-FFF2-40B4-BE49-F238E27FC236}">
                    <a16:creationId xmlns:a16="http://schemas.microsoft.com/office/drawing/2014/main" id="{67093D0D-28F6-5432-43C7-0CCC1013011F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6.60</a:t>
                </a:r>
              </a:p>
            </p:txBody>
          </p:sp>
        </p:grp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F8A666D9-DE3B-7906-C43F-ABE8DF7D9527}"/>
                </a:ext>
              </a:extLst>
            </p:cNvPr>
            <p:cNvGrpSpPr/>
            <p:nvPr/>
          </p:nvGrpSpPr>
          <p:grpSpPr>
            <a:xfrm>
              <a:off x="-502267" y="1412113"/>
              <a:ext cx="411956" cy="216662"/>
              <a:chOff x="-615197" y="4295013"/>
              <a:chExt cx="411956" cy="216662"/>
            </a:xfrm>
          </p:grpSpPr>
          <p:cxnSp>
            <p:nvCxnSpPr>
              <p:cNvPr id="26" name="Gerader Verbinder 25">
                <a:extLst>
                  <a:ext uri="{FF2B5EF4-FFF2-40B4-BE49-F238E27FC236}">
                    <a16:creationId xmlns:a16="http://schemas.microsoft.com/office/drawing/2014/main" id="{2F1739C9-4D4A-E37D-864F-3508F5326C6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7" name="Textfeld 26">
                <a:extLst>
                  <a:ext uri="{FF2B5EF4-FFF2-40B4-BE49-F238E27FC236}">
                    <a16:creationId xmlns:a16="http://schemas.microsoft.com/office/drawing/2014/main" id="{520AD08B-5CBC-6872-DB3A-91C7BCDF330D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5.00</a:t>
                </a:r>
              </a:p>
            </p:txBody>
          </p:sp>
        </p:grp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E6274B70-4A80-FFF6-0CB3-F6C5F3D232EE}"/>
                </a:ext>
              </a:extLst>
            </p:cNvPr>
            <p:cNvGrpSpPr/>
            <p:nvPr/>
          </p:nvGrpSpPr>
          <p:grpSpPr>
            <a:xfrm>
              <a:off x="-502267" y="80201"/>
              <a:ext cx="411956" cy="216662"/>
              <a:chOff x="-615197" y="4258501"/>
              <a:chExt cx="411956" cy="216662"/>
            </a:xfrm>
          </p:grpSpPr>
          <p:cxnSp>
            <p:nvCxnSpPr>
              <p:cNvPr id="24" name="Gerader Verbinder 23">
                <a:extLst>
                  <a:ext uri="{FF2B5EF4-FFF2-40B4-BE49-F238E27FC236}">
                    <a16:creationId xmlns:a16="http://schemas.microsoft.com/office/drawing/2014/main" id="{B26CCFF8-D878-8154-6455-47237DB5D42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75163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5" name="Textfeld 24">
                <a:extLst>
                  <a:ext uri="{FF2B5EF4-FFF2-40B4-BE49-F238E27FC236}">
                    <a16:creationId xmlns:a16="http://schemas.microsoft.com/office/drawing/2014/main" id="{4365A7D4-321C-A39E-7A9E-4200336429FA}"/>
                  </a:ext>
                </a:extLst>
              </p:cNvPr>
              <p:cNvSpPr txBox="1"/>
              <p:nvPr/>
            </p:nvSpPr>
            <p:spPr>
              <a:xfrm>
                <a:off x="-615197" y="4258501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8.70</a:t>
                </a:r>
              </a:p>
            </p:txBody>
          </p:sp>
        </p:grpSp>
      </p:grp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AC1988B0-5727-29A2-B0DB-865EE46BF93F}"/>
              </a:ext>
            </a:extLst>
          </p:cNvPr>
          <p:cNvGrpSpPr/>
          <p:nvPr/>
        </p:nvGrpSpPr>
        <p:grpSpPr>
          <a:xfrm>
            <a:off x="11170442" y="299244"/>
            <a:ext cx="505400" cy="505400"/>
            <a:chOff x="5423248" y="2756248"/>
            <a:chExt cx="1349978" cy="1349978"/>
          </a:xfrm>
        </p:grpSpPr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id="{35994351-9FA4-8F18-CD78-F94FA21A00C3}"/>
                </a:ext>
              </a:extLst>
            </p:cNvPr>
            <p:cNvSpPr/>
            <p:nvPr/>
          </p:nvSpPr>
          <p:spPr>
            <a:xfrm>
              <a:off x="5423248" y="2756248"/>
              <a:ext cx="1349978" cy="1349978"/>
            </a:xfrm>
            <a:custGeom>
              <a:avLst/>
              <a:gdLst>
                <a:gd name="connsiteX0" fmla="*/ 1349788 w 1349978"/>
                <a:gd name="connsiteY0" fmla="*/ 1349978 h 1349978"/>
                <a:gd name="connsiteX1" fmla="*/ 675037 w 1349978"/>
                <a:gd name="connsiteY1" fmla="*/ 1205389 h 1349978"/>
                <a:gd name="connsiteX2" fmla="*/ 0 w 1349978"/>
                <a:gd name="connsiteY2" fmla="*/ 1349978 h 1349978"/>
                <a:gd name="connsiteX3" fmla="*/ 0 w 1349978"/>
                <a:gd name="connsiteY3" fmla="*/ 0 h 1349978"/>
                <a:gd name="connsiteX4" fmla="*/ 1349978 w 1349978"/>
                <a:gd name="connsiteY4" fmla="*/ 0 h 1349978"/>
                <a:gd name="connsiteX5" fmla="*/ 1349788 w 1349978"/>
                <a:gd name="connsiteY5" fmla="*/ 1349978 h 1349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49978" h="1349978">
                  <a:moveTo>
                    <a:pt x="1349788" y="1349978"/>
                  </a:moveTo>
                  <a:cubicBezTo>
                    <a:pt x="1143953" y="1257110"/>
                    <a:pt x="915543" y="1205389"/>
                    <a:pt x="675037" y="1205389"/>
                  </a:cubicBezTo>
                  <a:cubicBezTo>
                    <a:pt x="434530" y="1205389"/>
                    <a:pt x="205835" y="1257110"/>
                    <a:pt x="0" y="1349978"/>
                  </a:cubicBezTo>
                  <a:lnTo>
                    <a:pt x="0" y="0"/>
                  </a:lnTo>
                  <a:lnTo>
                    <a:pt x="1349978" y="0"/>
                  </a:lnTo>
                  <a:lnTo>
                    <a:pt x="1349788" y="1349978"/>
                  </a:lnTo>
                  <a:close/>
                </a:path>
              </a:pathLst>
            </a:custGeom>
            <a:solidFill>
              <a:srgbClr val="0F2D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39" name="Grafik 31">
              <a:extLst>
                <a:ext uri="{FF2B5EF4-FFF2-40B4-BE49-F238E27FC236}">
                  <a16:creationId xmlns:a16="http://schemas.microsoft.com/office/drawing/2014/main" id="{10769AC1-055F-6641-6973-F11CA60DC223}"/>
                </a:ext>
              </a:extLst>
            </p:cNvPr>
            <p:cNvGrpSpPr/>
            <p:nvPr/>
          </p:nvGrpSpPr>
          <p:grpSpPr>
            <a:xfrm>
              <a:off x="5474985" y="3134295"/>
              <a:ext cx="1244293" cy="294132"/>
              <a:chOff x="5474985" y="3134295"/>
              <a:chExt cx="1244293" cy="294132"/>
            </a:xfrm>
            <a:solidFill>
              <a:srgbClr val="FFFFFF"/>
            </a:solidFill>
          </p:grpSpPr>
          <p:sp>
            <p:nvSpPr>
              <p:cNvPr id="40" name="Freihandform: Form 39">
                <a:extLst>
                  <a:ext uri="{FF2B5EF4-FFF2-40B4-BE49-F238E27FC236}">
                    <a16:creationId xmlns:a16="http://schemas.microsoft.com/office/drawing/2014/main" id="{BC0426AE-1B52-5932-939C-246B0FCEF849}"/>
                  </a:ext>
                </a:extLst>
              </p:cNvPr>
              <p:cNvSpPr/>
              <p:nvPr/>
            </p:nvSpPr>
            <p:spPr>
              <a:xfrm>
                <a:off x="5474985" y="3134295"/>
                <a:ext cx="247353" cy="293941"/>
              </a:xfrm>
              <a:custGeom>
                <a:avLst/>
                <a:gdLst>
                  <a:gd name="connsiteX0" fmla="*/ 109998 w 247353"/>
                  <a:gd name="connsiteY0" fmla="*/ 30956 h 293941"/>
                  <a:gd name="connsiteX1" fmla="*/ 41418 w 247353"/>
                  <a:gd name="connsiteY1" fmla="*/ 95250 h 293941"/>
                  <a:gd name="connsiteX2" fmla="*/ 11129 w 247353"/>
                  <a:gd name="connsiteY2" fmla="*/ 95250 h 293941"/>
                  <a:gd name="connsiteX3" fmla="*/ 11129 w 247353"/>
                  <a:gd name="connsiteY3" fmla="*/ 0 h 293941"/>
                  <a:gd name="connsiteX4" fmla="*/ 247349 w 247353"/>
                  <a:gd name="connsiteY4" fmla="*/ 0 h 293941"/>
                  <a:gd name="connsiteX5" fmla="*/ 179340 w 247353"/>
                  <a:gd name="connsiteY5" fmla="*/ 151733 h 293941"/>
                  <a:gd name="connsiteX6" fmla="*/ 111141 w 247353"/>
                  <a:gd name="connsiteY6" fmla="*/ 262795 h 293941"/>
                  <a:gd name="connsiteX7" fmla="*/ 149432 w 247353"/>
                  <a:gd name="connsiteY7" fmla="*/ 262795 h 293941"/>
                  <a:gd name="connsiteX8" fmla="*/ 210011 w 247353"/>
                  <a:gd name="connsiteY8" fmla="*/ 198501 h 293941"/>
                  <a:gd name="connsiteX9" fmla="*/ 241634 w 247353"/>
                  <a:gd name="connsiteY9" fmla="*/ 198501 h 293941"/>
                  <a:gd name="connsiteX10" fmla="*/ 241634 w 247353"/>
                  <a:gd name="connsiteY10" fmla="*/ 293942 h 293941"/>
                  <a:gd name="connsiteX11" fmla="*/ 270 w 247353"/>
                  <a:gd name="connsiteY11" fmla="*/ 293942 h 293941"/>
                  <a:gd name="connsiteX12" fmla="*/ 75137 w 247353"/>
                  <a:gd name="connsiteY12" fmla="*/ 133731 h 293941"/>
                  <a:gd name="connsiteX13" fmla="*/ 138573 w 247353"/>
                  <a:gd name="connsiteY13" fmla="*/ 30671 h 293941"/>
                  <a:gd name="connsiteX14" fmla="*/ 109998 w 247353"/>
                  <a:gd name="connsiteY14" fmla="*/ 30861 h 2939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47353" h="293941">
                    <a:moveTo>
                      <a:pt x="109998" y="30956"/>
                    </a:moveTo>
                    <a:cubicBezTo>
                      <a:pt x="46562" y="30956"/>
                      <a:pt x="41418" y="95250"/>
                      <a:pt x="41418" y="95250"/>
                    </a:cubicBezTo>
                    <a:lnTo>
                      <a:pt x="11129" y="95250"/>
                    </a:lnTo>
                    <a:lnTo>
                      <a:pt x="11129" y="0"/>
                    </a:lnTo>
                    <a:lnTo>
                      <a:pt x="247349" y="0"/>
                    </a:lnTo>
                    <a:cubicBezTo>
                      <a:pt x="247349" y="0"/>
                      <a:pt x="249254" y="73628"/>
                      <a:pt x="179340" y="151733"/>
                    </a:cubicBezTo>
                    <a:cubicBezTo>
                      <a:pt x="179340" y="151733"/>
                      <a:pt x="112856" y="228981"/>
                      <a:pt x="111141" y="262795"/>
                    </a:cubicBezTo>
                    <a:lnTo>
                      <a:pt x="149432" y="262795"/>
                    </a:lnTo>
                    <a:cubicBezTo>
                      <a:pt x="204391" y="262795"/>
                      <a:pt x="210011" y="198501"/>
                      <a:pt x="210011" y="198501"/>
                    </a:cubicBezTo>
                    <a:lnTo>
                      <a:pt x="241634" y="198501"/>
                    </a:lnTo>
                    <a:lnTo>
                      <a:pt x="241634" y="293942"/>
                    </a:lnTo>
                    <a:lnTo>
                      <a:pt x="270" y="293942"/>
                    </a:lnTo>
                    <a:cubicBezTo>
                      <a:pt x="270" y="293942"/>
                      <a:pt x="-8588" y="221647"/>
                      <a:pt x="75137" y="133731"/>
                    </a:cubicBezTo>
                    <a:cubicBezTo>
                      <a:pt x="75137" y="133731"/>
                      <a:pt x="126667" y="76200"/>
                      <a:pt x="138573" y="30671"/>
                    </a:cubicBezTo>
                    <a:lnTo>
                      <a:pt x="109998" y="30861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" name="Freihandform: Form 40">
                <a:extLst>
                  <a:ext uri="{FF2B5EF4-FFF2-40B4-BE49-F238E27FC236}">
                    <a16:creationId xmlns:a16="http://schemas.microsoft.com/office/drawing/2014/main" id="{CB28B464-637C-E2C5-9F1C-9134B7025246}"/>
                  </a:ext>
                </a:extLst>
              </p:cNvPr>
              <p:cNvSpPr/>
              <p:nvPr/>
            </p:nvSpPr>
            <p:spPr>
              <a:xfrm>
                <a:off x="6030181" y="3134295"/>
                <a:ext cx="156495" cy="293750"/>
              </a:xfrm>
              <a:custGeom>
                <a:avLst/>
                <a:gdLst>
                  <a:gd name="connsiteX0" fmla="*/ 156496 w 156495"/>
                  <a:gd name="connsiteY0" fmla="*/ 293751 h 293750"/>
                  <a:gd name="connsiteX1" fmla="*/ 156496 w 156495"/>
                  <a:gd name="connsiteY1" fmla="*/ 262604 h 293750"/>
                  <a:gd name="connsiteX2" fmla="*/ 149352 w 156495"/>
                  <a:gd name="connsiteY2" fmla="*/ 262604 h 293750"/>
                  <a:gd name="connsiteX3" fmla="*/ 125730 w 156495"/>
                  <a:gd name="connsiteY3" fmla="*/ 238982 h 293750"/>
                  <a:gd name="connsiteX4" fmla="*/ 125730 w 156495"/>
                  <a:gd name="connsiteY4" fmla="*/ 54769 h 293750"/>
                  <a:gd name="connsiteX5" fmla="*/ 149352 w 156495"/>
                  <a:gd name="connsiteY5" fmla="*/ 31147 h 293750"/>
                  <a:gd name="connsiteX6" fmla="*/ 156496 w 156495"/>
                  <a:gd name="connsiteY6" fmla="*/ 31147 h 293750"/>
                  <a:gd name="connsiteX7" fmla="*/ 156496 w 156495"/>
                  <a:gd name="connsiteY7" fmla="*/ 0 h 293750"/>
                  <a:gd name="connsiteX8" fmla="*/ 0 w 156495"/>
                  <a:gd name="connsiteY8" fmla="*/ 0 h 293750"/>
                  <a:gd name="connsiteX9" fmla="*/ 0 w 156495"/>
                  <a:gd name="connsiteY9" fmla="*/ 31147 h 293750"/>
                  <a:gd name="connsiteX10" fmla="*/ 7144 w 156495"/>
                  <a:gd name="connsiteY10" fmla="*/ 31147 h 293750"/>
                  <a:gd name="connsiteX11" fmla="*/ 30956 w 156495"/>
                  <a:gd name="connsiteY11" fmla="*/ 54769 h 293750"/>
                  <a:gd name="connsiteX12" fmla="*/ 30956 w 156495"/>
                  <a:gd name="connsiteY12" fmla="*/ 238982 h 293750"/>
                  <a:gd name="connsiteX13" fmla="*/ 7144 w 156495"/>
                  <a:gd name="connsiteY13" fmla="*/ 262604 h 293750"/>
                  <a:gd name="connsiteX14" fmla="*/ 0 w 156495"/>
                  <a:gd name="connsiteY14" fmla="*/ 262604 h 293750"/>
                  <a:gd name="connsiteX15" fmla="*/ 0 w 156495"/>
                  <a:gd name="connsiteY15" fmla="*/ 293751 h 293750"/>
                  <a:gd name="connsiteX16" fmla="*/ 156496 w 156495"/>
                  <a:gd name="connsiteY16" fmla="*/ 293751 h 293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56495" h="293750">
                    <a:moveTo>
                      <a:pt x="156496" y="293751"/>
                    </a:moveTo>
                    <a:lnTo>
                      <a:pt x="156496" y="262604"/>
                    </a:lnTo>
                    <a:lnTo>
                      <a:pt x="149352" y="262604"/>
                    </a:lnTo>
                    <a:cubicBezTo>
                      <a:pt x="136398" y="262604"/>
                      <a:pt x="125730" y="251936"/>
                      <a:pt x="125730" y="238982"/>
                    </a:cubicBezTo>
                    <a:lnTo>
                      <a:pt x="125730" y="54769"/>
                    </a:lnTo>
                    <a:cubicBezTo>
                      <a:pt x="125730" y="41815"/>
                      <a:pt x="136303" y="31147"/>
                      <a:pt x="149352" y="31147"/>
                    </a:cubicBezTo>
                    <a:lnTo>
                      <a:pt x="156496" y="31147"/>
                    </a:lnTo>
                    <a:lnTo>
                      <a:pt x="156496" y="0"/>
                    </a:lnTo>
                    <a:lnTo>
                      <a:pt x="0" y="0"/>
                    </a:lnTo>
                    <a:lnTo>
                      <a:pt x="0" y="31147"/>
                    </a:lnTo>
                    <a:lnTo>
                      <a:pt x="7144" y="31147"/>
                    </a:lnTo>
                    <a:cubicBezTo>
                      <a:pt x="20383" y="31147"/>
                      <a:pt x="30956" y="41720"/>
                      <a:pt x="30956" y="54769"/>
                    </a:cubicBezTo>
                    <a:lnTo>
                      <a:pt x="30956" y="238982"/>
                    </a:lnTo>
                    <a:cubicBezTo>
                      <a:pt x="30956" y="251936"/>
                      <a:pt x="20383" y="262604"/>
                      <a:pt x="7144" y="262604"/>
                    </a:cubicBezTo>
                    <a:lnTo>
                      <a:pt x="0" y="262604"/>
                    </a:lnTo>
                    <a:lnTo>
                      <a:pt x="0" y="293751"/>
                    </a:lnTo>
                    <a:lnTo>
                      <a:pt x="156496" y="293751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2" name="Freihandform: Form 41">
                <a:extLst>
                  <a:ext uri="{FF2B5EF4-FFF2-40B4-BE49-F238E27FC236}">
                    <a16:creationId xmlns:a16="http://schemas.microsoft.com/office/drawing/2014/main" id="{4C93C9A4-B3DE-8A79-C3B8-6E7160E9861D}"/>
                  </a:ext>
                </a:extLst>
              </p:cNvPr>
              <p:cNvSpPr/>
              <p:nvPr/>
            </p:nvSpPr>
            <p:spPr>
              <a:xfrm>
                <a:off x="5748718" y="3134295"/>
                <a:ext cx="248983" cy="294132"/>
              </a:xfrm>
              <a:custGeom>
                <a:avLst/>
                <a:gdLst>
                  <a:gd name="connsiteX0" fmla="*/ 248983 w 248983"/>
                  <a:gd name="connsiteY0" fmla="*/ 294037 h 294132"/>
                  <a:gd name="connsiteX1" fmla="*/ 248983 w 248983"/>
                  <a:gd name="connsiteY1" fmla="*/ 198596 h 294132"/>
                  <a:gd name="connsiteX2" fmla="*/ 217361 w 248983"/>
                  <a:gd name="connsiteY2" fmla="*/ 198596 h 294132"/>
                  <a:gd name="connsiteX3" fmla="*/ 156496 w 248983"/>
                  <a:gd name="connsiteY3" fmla="*/ 262890 h 294132"/>
                  <a:gd name="connsiteX4" fmla="*/ 124873 w 248983"/>
                  <a:gd name="connsiteY4" fmla="*/ 262890 h 294132"/>
                  <a:gd name="connsiteX5" fmla="*/ 124873 w 248983"/>
                  <a:gd name="connsiteY5" fmla="*/ 162687 h 294132"/>
                  <a:gd name="connsiteX6" fmla="*/ 136112 w 248983"/>
                  <a:gd name="connsiteY6" fmla="*/ 162687 h 294132"/>
                  <a:gd name="connsiteX7" fmla="*/ 159925 w 248983"/>
                  <a:gd name="connsiteY7" fmla="*/ 186500 h 294132"/>
                  <a:gd name="connsiteX8" fmla="*/ 159925 w 248983"/>
                  <a:gd name="connsiteY8" fmla="*/ 198406 h 294132"/>
                  <a:gd name="connsiteX9" fmla="*/ 191071 w 248983"/>
                  <a:gd name="connsiteY9" fmla="*/ 198406 h 294132"/>
                  <a:gd name="connsiteX10" fmla="*/ 191071 w 248983"/>
                  <a:gd name="connsiteY10" fmla="*/ 95631 h 294132"/>
                  <a:gd name="connsiteX11" fmla="*/ 159925 w 248983"/>
                  <a:gd name="connsiteY11" fmla="*/ 95631 h 294132"/>
                  <a:gd name="connsiteX12" fmla="*/ 159925 w 248983"/>
                  <a:gd name="connsiteY12" fmla="*/ 107537 h 294132"/>
                  <a:gd name="connsiteX13" fmla="*/ 136112 w 248983"/>
                  <a:gd name="connsiteY13" fmla="*/ 131350 h 294132"/>
                  <a:gd name="connsiteX14" fmla="*/ 124873 w 248983"/>
                  <a:gd name="connsiteY14" fmla="*/ 131350 h 294132"/>
                  <a:gd name="connsiteX15" fmla="*/ 124873 w 248983"/>
                  <a:gd name="connsiteY15" fmla="*/ 31147 h 294132"/>
                  <a:gd name="connsiteX16" fmla="*/ 156496 w 248983"/>
                  <a:gd name="connsiteY16" fmla="*/ 31147 h 294132"/>
                  <a:gd name="connsiteX17" fmla="*/ 217361 w 248983"/>
                  <a:gd name="connsiteY17" fmla="*/ 95441 h 294132"/>
                  <a:gd name="connsiteX18" fmla="*/ 248983 w 248983"/>
                  <a:gd name="connsiteY18" fmla="*/ 95441 h 294132"/>
                  <a:gd name="connsiteX19" fmla="*/ 248983 w 248983"/>
                  <a:gd name="connsiteY19" fmla="*/ 0 h 294132"/>
                  <a:gd name="connsiteX20" fmla="*/ 0 w 248983"/>
                  <a:gd name="connsiteY20" fmla="*/ 0 h 294132"/>
                  <a:gd name="connsiteX21" fmla="*/ 0 w 248983"/>
                  <a:gd name="connsiteY21" fmla="*/ 31337 h 294132"/>
                  <a:gd name="connsiteX22" fmla="*/ 7144 w 248983"/>
                  <a:gd name="connsiteY22" fmla="*/ 31337 h 294132"/>
                  <a:gd name="connsiteX23" fmla="*/ 30766 w 248983"/>
                  <a:gd name="connsiteY23" fmla="*/ 54959 h 294132"/>
                  <a:gd name="connsiteX24" fmla="*/ 30766 w 248983"/>
                  <a:gd name="connsiteY24" fmla="*/ 239173 h 294132"/>
                  <a:gd name="connsiteX25" fmla="*/ 7144 w 248983"/>
                  <a:gd name="connsiteY25" fmla="*/ 262795 h 294132"/>
                  <a:gd name="connsiteX26" fmla="*/ 0 w 248983"/>
                  <a:gd name="connsiteY26" fmla="*/ 262795 h 294132"/>
                  <a:gd name="connsiteX27" fmla="*/ 0 w 248983"/>
                  <a:gd name="connsiteY27" fmla="*/ 293942 h 294132"/>
                  <a:gd name="connsiteX28" fmla="*/ 248983 w 248983"/>
                  <a:gd name="connsiteY28" fmla="*/ 294132 h 294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248983" h="294132">
                    <a:moveTo>
                      <a:pt x="248983" y="294037"/>
                    </a:moveTo>
                    <a:lnTo>
                      <a:pt x="248983" y="198596"/>
                    </a:lnTo>
                    <a:lnTo>
                      <a:pt x="217361" y="198596"/>
                    </a:lnTo>
                    <a:cubicBezTo>
                      <a:pt x="217361" y="198596"/>
                      <a:pt x="211550" y="262890"/>
                      <a:pt x="156496" y="262890"/>
                    </a:cubicBezTo>
                    <a:lnTo>
                      <a:pt x="124873" y="262890"/>
                    </a:lnTo>
                    <a:lnTo>
                      <a:pt x="124873" y="162687"/>
                    </a:lnTo>
                    <a:lnTo>
                      <a:pt x="136112" y="162687"/>
                    </a:lnTo>
                    <a:cubicBezTo>
                      <a:pt x="149352" y="162687"/>
                      <a:pt x="159925" y="173355"/>
                      <a:pt x="159925" y="186500"/>
                    </a:cubicBezTo>
                    <a:lnTo>
                      <a:pt x="159925" y="198406"/>
                    </a:lnTo>
                    <a:lnTo>
                      <a:pt x="191071" y="198406"/>
                    </a:lnTo>
                    <a:lnTo>
                      <a:pt x="191071" y="95631"/>
                    </a:lnTo>
                    <a:lnTo>
                      <a:pt x="159925" y="95631"/>
                    </a:lnTo>
                    <a:lnTo>
                      <a:pt x="159925" y="107537"/>
                    </a:lnTo>
                    <a:cubicBezTo>
                      <a:pt x="159925" y="120777"/>
                      <a:pt x="149352" y="131350"/>
                      <a:pt x="136112" y="131350"/>
                    </a:cubicBezTo>
                    <a:lnTo>
                      <a:pt x="124873" y="131350"/>
                    </a:lnTo>
                    <a:lnTo>
                      <a:pt x="124873" y="31147"/>
                    </a:lnTo>
                    <a:lnTo>
                      <a:pt x="156496" y="31147"/>
                    </a:lnTo>
                    <a:cubicBezTo>
                      <a:pt x="211455" y="31147"/>
                      <a:pt x="217361" y="95441"/>
                      <a:pt x="217361" y="95441"/>
                    </a:cubicBezTo>
                    <a:lnTo>
                      <a:pt x="248983" y="95441"/>
                    </a:lnTo>
                    <a:lnTo>
                      <a:pt x="248983" y="0"/>
                    </a:lnTo>
                    <a:lnTo>
                      <a:pt x="0" y="0"/>
                    </a:lnTo>
                    <a:lnTo>
                      <a:pt x="0" y="31337"/>
                    </a:lnTo>
                    <a:lnTo>
                      <a:pt x="7144" y="31337"/>
                    </a:lnTo>
                    <a:cubicBezTo>
                      <a:pt x="20098" y="31337"/>
                      <a:pt x="30766" y="42005"/>
                      <a:pt x="30766" y="54959"/>
                    </a:cubicBezTo>
                    <a:lnTo>
                      <a:pt x="30766" y="239173"/>
                    </a:lnTo>
                    <a:cubicBezTo>
                      <a:pt x="30766" y="252127"/>
                      <a:pt x="20193" y="262795"/>
                      <a:pt x="7144" y="262795"/>
                    </a:cubicBezTo>
                    <a:lnTo>
                      <a:pt x="0" y="262795"/>
                    </a:lnTo>
                    <a:lnTo>
                      <a:pt x="0" y="293942"/>
                    </a:lnTo>
                    <a:lnTo>
                      <a:pt x="248983" y="294132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" name="Freihandform: Form 42">
                <a:extLst>
                  <a:ext uri="{FF2B5EF4-FFF2-40B4-BE49-F238E27FC236}">
                    <a16:creationId xmlns:a16="http://schemas.microsoft.com/office/drawing/2014/main" id="{FCA76973-2B1D-E056-9B2D-CB81876900B0}"/>
                  </a:ext>
                </a:extLst>
              </p:cNvPr>
              <p:cNvSpPr/>
              <p:nvPr/>
            </p:nvSpPr>
            <p:spPr>
              <a:xfrm>
                <a:off x="6217588" y="3134295"/>
                <a:ext cx="237562" cy="293941"/>
              </a:xfrm>
              <a:custGeom>
                <a:avLst/>
                <a:gdLst>
                  <a:gd name="connsiteX0" fmla="*/ 133586 w 237562"/>
                  <a:gd name="connsiteY0" fmla="*/ 30956 h 293941"/>
                  <a:gd name="connsiteX1" fmla="*/ 201976 w 237562"/>
                  <a:gd name="connsiteY1" fmla="*/ 95250 h 293941"/>
                  <a:gd name="connsiteX2" fmla="*/ 232551 w 237562"/>
                  <a:gd name="connsiteY2" fmla="*/ 95250 h 293941"/>
                  <a:gd name="connsiteX3" fmla="*/ 232551 w 237562"/>
                  <a:gd name="connsiteY3" fmla="*/ 0 h 293941"/>
                  <a:gd name="connsiteX4" fmla="*/ 6713 w 237562"/>
                  <a:gd name="connsiteY4" fmla="*/ 0 h 293941"/>
                  <a:gd name="connsiteX5" fmla="*/ 64339 w 237562"/>
                  <a:gd name="connsiteY5" fmla="*/ 151733 h 293941"/>
                  <a:gd name="connsiteX6" fmla="*/ 132348 w 237562"/>
                  <a:gd name="connsiteY6" fmla="*/ 262795 h 293941"/>
                  <a:gd name="connsiteX7" fmla="*/ 94248 w 237562"/>
                  <a:gd name="connsiteY7" fmla="*/ 262795 h 293941"/>
                  <a:gd name="connsiteX8" fmla="*/ 33383 w 237562"/>
                  <a:gd name="connsiteY8" fmla="*/ 198501 h 293941"/>
                  <a:gd name="connsiteX9" fmla="*/ 1760 w 237562"/>
                  <a:gd name="connsiteY9" fmla="*/ 198501 h 293941"/>
                  <a:gd name="connsiteX10" fmla="*/ 1760 w 237562"/>
                  <a:gd name="connsiteY10" fmla="*/ 293942 h 293941"/>
                  <a:gd name="connsiteX11" fmla="*/ 229312 w 237562"/>
                  <a:gd name="connsiteY11" fmla="*/ 293942 h 293941"/>
                  <a:gd name="connsiteX12" fmla="*/ 168257 w 237562"/>
                  <a:gd name="connsiteY12" fmla="*/ 133731 h 293941"/>
                  <a:gd name="connsiteX13" fmla="*/ 104821 w 237562"/>
                  <a:gd name="connsiteY13" fmla="*/ 30671 h 293941"/>
                  <a:gd name="connsiteX14" fmla="*/ 133586 w 237562"/>
                  <a:gd name="connsiteY14" fmla="*/ 30861 h 2939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37562" h="293941">
                    <a:moveTo>
                      <a:pt x="133586" y="30956"/>
                    </a:moveTo>
                    <a:cubicBezTo>
                      <a:pt x="197023" y="30956"/>
                      <a:pt x="201976" y="95250"/>
                      <a:pt x="201976" y="95250"/>
                    </a:cubicBezTo>
                    <a:lnTo>
                      <a:pt x="232551" y="95250"/>
                    </a:lnTo>
                    <a:lnTo>
                      <a:pt x="232551" y="0"/>
                    </a:lnTo>
                    <a:lnTo>
                      <a:pt x="6713" y="0"/>
                    </a:lnTo>
                    <a:cubicBezTo>
                      <a:pt x="6713" y="0"/>
                      <a:pt x="-29006" y="46768"/>
                      <a:pt x="64339" y="151733"/>
                    </a:cubicBezTo>
                    <a:cubicBezTo>
                      <a:pt x="64339" y="151733"/>
                      <a:pt x="130538" y="228981"/>
                      <a:pt x="132348" y="262795"/>
                    </a:cubicBezTo>
                    <a:lnTo>
                      <a:pt x="94248" y="262795"/>
                    </a:lnTo>
                    <a:cubicBezTo>
                      <a:pt x="39289" y="262795"/>
                      <a:pt x="33383" y="198501"/>
                      <a:pt x="33383" y="198501"/>
                    </a:cubicBezTo>
                    <a:lnTo>
                      <a:pt x="1760" y="198501"/>
                    </a:lnTo>
                    <a:lnTo>
                      <a:pt x="1760" y="293942"/>
                    </a:lnTo>
                    <a:lnTo>
                      <a:pt x="229312" y="293942"/>
                    </a:lnTo>
                    <a:cubicBezTo>
                      <a:pt x="229312" y="293942"/>
                      <a:pt x="270651" y="249365"/>
                      <a:pt x="168257" y="133731"/>
                    </a:cubicBezTo>
                    <a:cubicBezTo>
                      <a:pt x="168257" y="133731"/>
                      <a:pt x="114536" y="78581"/>
                      <a:pt x="104821" y="30671"/>
                    </a:cubicBezTo>
                    <a:lnTo>
                      <a:pt x="133586" y="30861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4" name="Freihandform: Form 43">
                <a:extLst>
                  <a:ext uri="{FF2B5EF4-FFF2-40B4-BE49-F238E27FC236}">
                    <a16:creationId xmlns:a16="http://schemas.microsoft.com/office/drawing/2014/main" id="{60DF7212-7CE6-AE1F-FD71-12C138EF34B3}"/>
                  </a:ext>
                </a:extLst>
              </p:cNvPr>
              <p:cNvSpPr/>
              <p:nvPr/>
            </p:nvSpPr>
            <p:spPr>
              <a:xfrm>
                <a:off x="6481716" y="3134295"/>
                <a:ext cx="237562" cy="293941"/>
              </a:xfrm>
              <a:custGeom>
                <a:avLst/>
                <a:gdLst>
                  <a:gd name="connsiteX0" fmla="*/ 133586 w 237562"/>
                  <a:gd name="connsiteY0" fmla="*/ 30956 h 293941"/>
                  <a:gd name="connsiteX1" fmla="*/ 201976 w 237562"/>
                  <a:gd name="connsiteY1" fmla="*/ 95250 h 293941"/>
                  <a:gd name="connsiteX2" fmla="*/ 232265 w 237562"/>
                  <a:gd name="connsiteY2" fmla="*/ 95250 h 293941"/>
                  <a:gd name="connsiteX3" fmla="*/ 232265 w 237562"/>
                  <a:gd name="connsiteY3" fmla="*/ 0 h 293941"/>
                  <a:gd name="connsiteX4" fmla="*/ 6713 w 237562"/>
                  <a:gd name="connsiteY4" fmla="*/ 0 h 293941"/>
                  <a:gd name="connsiteX5" fmla="*/ 64339 w 237562"/>
                  <a:gd name="connsiteY5" fmla="*/ 151733 h 293941"/>
                  <a:gd name="connsiteX6" fmla="*/ 132348 w 237562"/>
                  <a:gd name="connsiteY6" fmla="*/ 262795 h 293941"/>
                  <a:gd name="connsiteX7" fmla="*/ 94248 w 237562"/>
                  <a:gd name="connsiteY7" fmla="*/ 262795 h 293941"/>
                  <a:gd name="connsiteX8" fmla="*/ 33383 w 237562"/>
                  <a:gd name="connsiteY8" fmla="*/ 198501 h 293941"/>
                  <a:gd name="connsiteX9" fmla="*/ 1760 w 237562"/>
                  <a:gd name="connsiteY9" fmla="*/ 198501 h 293941"/>
                  <a:gd name="connsiteX10" fmla="*/ 1760 w 237562"/>
                  <a:gd name="connsiteY10" fmla="*/ 293942 h 293941"/>
                  <a:gd name="connsiteX11" fmla="*/ 229313 w 237562"/>
                  <a:gd name="connsiteY11" fmla="*/ 293942 h 293941"/>
                  <a:gd name="connsiteX12" fmla="*/ 168257 w 237562"/>
                  <a:gd name="connsiteY12" fmla="*/ 133731 h 293941"/>
                  <a:gd name="connsiteX13" fmla="*/ 104821 w 237562"/>
                  <a:gd name="connsiteY13" fmla="*/ 30671 h 293941"/>
                  <a:gd name="connsiteX14" fmla="*/ 133586 w 237562"/>
                  <a:gd name="connsiteY14" fmla="*/ 30861 h 2939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37562" h="293941">
                    <a:moveTo>
                      <a:pt x="133586" y="30956"/>
                    </a:moveTo>
                    <a:cubicBezTo>
                      <a:pt x="196832" y="30956"/>
                      <a:pt x="201976" y="95250"/>
                      <a:pt x="201976" y="95250"/>
                    </a:cubicBezTo>
                    <a:lnTo>
                      <a:pt x="232265" y="95250"/>
                    </a:lnTo>
                    <a:lnTo>
                      <a:pt x="232265" y="0"/>
                    </a:lnTo>
                    <a:lnTo>
                      <a:pt x="6713" y="0"/>
                    </a:lnTo>
                    <a:cubicBezTo>
                      <a:pt x="6713" y="0"/>
                      <a:pt x="-29006" y="46768"/>
                      <a:pt x="64339" y="151733"/>
                    </a:cubicBezTo>
                    <a:cubicBezTo>
                      <a:pt x="64339" y="151733"/>
                      <a:pt x="130538" y="228981"/>
                      <a:pt x="132348" y="262795"/>
                    </a:cubicBezTo>
                    <a:lnTo>
                      <a:pt x="94248" y="262795"/>
                    </a:lnTo>
                    <a:cubicBezTo>
                      <a:pt x="39289" y="262795"/>
                      <a:pt x="33383" y="198501"/>
                      <a:pt x="33383" y="198501"/>
                    </a:cubicBezTo>
                    <a:lnTo>
                      <a:pt x="1760" y="198501"/>
                    </a:lnTo>
                    <a:lnTo>
                      <a:pt x="1760" y="293942"/>
                    </a:lnTo>
                    <a:lnTo>
                      <a:pt x="229313" y="293942"/>
                    </a:lnTo>
                    <a:cubicBezTo>
                      <a:pt x="229313" y="293942"/>
                      <a:pt x="270651" y="249365"/>
                      <a:pt x="168257" y="133731"/>
                    </a:cubicBezTo>
                    <a:cubicBezTo>
                      <a:pt x="168257" y="133731"/>
                      <a:pt x="114536" y="78581"/>
                      <a:pt x="104821" y="30671"/>
                    </a:cubicBezTo>
                    <a:lnTo>
                      <a:pt x="133586" y="30861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521101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|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9" y="1628776"/>
            <a:ext cx="8663775" cy="1962150"/>
          </a:xfrm>
        </p:spPr>
        <p:txBody>
          <a:bodyPr anchor="b" anchorCtr="0">
            <a:noAutofit/>
          </a:bodyPr>
          <a:lstStyle>
            <a:lvl1pPr>
              <a:lnSpc>
                <a:spcPts val="5000"/>
              </a:lnSpc>
              <a:defRPr sz="4500" b="0">
                <a:latin typeface="+mj-lt"/>
                <a:cs typeface="ZEISS Frutiger Next W1G" panose="020B0503040204020203" pitchFamily="34" charset="0"/>
              </a:defRPr>
            </a:lvl1pPr>
          </a:lstStyle>
          <a:p>
            <a:r>
              <a:rPr lang="en-US" noProof="0" dirty="0"/>
              <a:t>Edit Master Cover Format</a:t>
            </a:r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5D536C54-AD88-4971-B5AC-E8FD5A475273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18319" y="3849556"/>
            <a:ext cx="8663775" cy="1296124"/>
          </a:xfrm>
        </p:spPr>
        <p:txBody>
          <a:bodyPr wrap="square">
            <a:noAutofit/>
          </a:bodyPr>
          <a:lstStyle>
            <a:lvl1pPr>
              <a:lnSpc>
                <a:spcPct val="120000"/>
              </a:lnSpc>
              <a:spcAft>
                <a:spcPts val="0"/>
              </a:spcAft>
              <a:defRPr sz="2000">
                <a:solidFill>
                  <a:srgbClr val="0F2DB3"/>
                </a:solidFill>
                <a:latin typeface="ZEISS Frutiger Next W1G"/>
                <a:cs typeface="ZEISS Frutiger Next W1G" panose="020B0503040204020203" pitchFamily="34" charset="0"/>
              </a:defRPr>
            </a:lvl1pPr>
          </a:lstStyle>
          <a:p>
            <a:pPr lvl="0"/>
            <a:r>
              <a:rPr lang="en-US" noProof="0" dirty="0"/>
              <a:t>Edit master text format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CDAB4CFE-07B3-4E55-9D90-97D0802B625E}"/>
              </a:ext>
            </a:extLst>
          </p:cNvPr>
          <p:cNvGrpSpPr/>
          <p:nvPr/>
        </p:nvGrpSpPr>
        <p:grpSpPr>
          <a:xfrm>
            <a:off x="304116" y="-697714"/>
            <a:ext cx="11370764" cy="411957"/>
            <a:chOff x="304116" y="6944502"/>
            <a:chExt cx="11370764" cy="411957"/>
          </a:xfrm>
        </p:grpSpPr>
        <p:grpSp>
          <p:nvGrpSpPr>
            <p:cNvPr id="50" name="Gruppieren 49">
              <a:extLst>
                <a:ext uri="{FF2B5EF4-FFF2-40B4-BE49-F238E27FC236}">
                  <a16:creationId xmlns:a16="http://schemas.microsoft.com/office/drawing/2014/main" id="{300A9246-8173-41E6-B35E-71E183DE4E5C}"/>
                </a:ext>
              </a:extLst>
            </p:cNvPr>
            <p:cNvGrpSpPr/>
            <p:nvPr/>
          </p:nvGrpSpPr>
          <p:grpSpPr>
            <a:xfrm rot="16200000">
              <a:off x="204049" y="7044570"/>
              <a:ext cx="411956" cy="211821"/>
              <a:chOff x="-615197" y="4299854"/>
              <a:chExt cx="411956" cy="211821"/>
            </a:xfrm>
          </p:grpSpPr>
          <p:cxnSp>
            <p:nvCxnSpPr>
              <p:cNvPr id="62" name="Gerader Verbinder 61">
                <a:extLst>
                  <a:ext uri="{FF2B5EF4-FFF2-40B4-BE49-F238E27FC236}">
                    <a16:creationId xmlns:a16="http://schemas.microsoft.com/office/drawing/2014/main" id="{E12700E9-0E4C-4897-99DD-2830E88815A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3" name="Textfeld 62">
                <a:extLst>
                  <a:ext uri="{FF2B5EF4-FFF2-40B4-BE49-F238E27FC236}">
                    <a16:creationId xmlns:a16="http://schemas.microsoft.com/office/drawing/2014/main" id="{030ADEB2-5D3B-4E5B-A61D-BF59899841EE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15.50</a:t>
                </a:r>
              </a:p>
            </p:txBody>
          </p:sp>
        </p:grpSp>
        <p:grpSp>
          <p:nvGrpSpPr>
            <p:cNvPr id="51" name="Gruppieren 50">
              <a:extLst>
                <a:ext uri="{FF2B5EF4-FFF2-40B4-BE49-F238E27FC236}">
                  <a16:creationId xmlns:a16="http://schemas.microsoft.com/office/drawing/2014/main" id="{36D9866E-22EA-4C01-935A-3E2C494266D0}"/>
                </a:ext>
              </a:extLst>
            </p:cNvPr>
            <p:cNvGrpSpPr/>
            <p:nvPr/>
          </p:nvGrpSpPr>
          <p:grpSpPr>
            <a:xfrm rot="16200000">
              <a:off x="5639649" y="7044570"/>
              <a:ext cx="411956" cy="211821"/>
              <a:chOff x="-615197" y="4299854"/>
              <a:chExt cx="411956" cy="211821"/>
            </a:xfrm>
          </p:grpSpPr>
          <p:cxnSp>
            <p:nvCxnSpPr>
              <p:cNvPr id="60" name="Gerader Verbinder 59">
                <a:extLst>
                  <a:ext uri="{FF2B5EF4-FFF2-40B4-BE49-F238E27FC236}">
                    <a16:creationId xmlns:a16="http://schemas.microsoft.com/office/drawing/2014/main" id="{B6FF4BEA-4EAE-4C33-A13C-07FA25366DB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1" name="Textfeld 60">
                <a:extLst>
                  <a:ext uri="{FF2B5EF4-FFF2-40B4-BE49-F238E27FC236}">
                    <a16:creationId xmlns:a16="http://schemas.microsoft.com/office/drawing/2014/main" id="{DA5D9D5D-EED8-4F7D-A8F8-28A0EE09DC9D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0.40</a:t>
                </a:r>
              </a:p>
            </p:txBody>
          </p:sp>
        </p:grpSp>
        <p:grpSp>
          <p:nvGrpSpPr>
            <p:cNvPr id="53" name="Gruppieren 52">
              <a:extLst>
                <a:ext uri="{FF2B5EF4-FFF2-40B4-BE49-F238E27FC236}">
                  <a16:creationId xmlns:a16="http://schemas.microsoft.com/office/drawing/2014/main" id="{BA6FCF1E-4401-4C92-9074-C31193286809}"/>
                </a:ext>
              </a:extLst>
            </p:cNvPr>
            <p:cNvGrpSpPr/>
            <p:nvPr/>
          </p:nvGrpSpPr>
          <p:grpSpPr>
            <a:xfrm rot="5400000">
              <a:off x="6093326" y="7046990"/>
              <a:ext cx="411956" cy="206980"/>
              <a:chOff x="-615197" y="4350961"/>
              <a:chExt cx="411956" cy="206980"/>
            </a:xfrm>
          </p:grpSpPr>
          <p:cxnSp>
            <p:nvCxnSpPr>
              <p:cNvPr id="58" name="Gerader Verbinder 57">
                <a:extLst>
                  <a:ext uri="{FF2B5EF4-FFF2-40B4-BE49-F238E27FC236}">
                    <a16:creationId xmlns:a16="http://schemas.microsoft.com/office/drawing/2014/main" id="{C4B84965-068B-48C7-9591-12635653F3F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9" name="Textfeld 58">
                <a:extLst>
                  <a:ext uri="{FF2B5EF4-FFF2-40B4-BE49-F238E27FC236}">
                    <a16:creationId xmlns:a16="http://schemas.microsoft.com/office/drawing/2014/main" id="{D8C6785E-EC81-4CD6-B798-6B15988F7A1B}"/>
                  </a:ext>
                </a:extLst>
              </p:cNvPr>
              <p:cNvSpPr txBox="1"/>
              <p:nvPr/>
            </p:nvSpPr>
            <p:spPr>
              <a:xfrm rot="10800000">
                <a:off x="-615197" y="4350961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0.40</a:t>
                </a:r>
              </a:p>
            </p:txBody>
          </p:sp>
        </p:grpSp>
        <p:cxnSp>
          <p:nvCxnSpPr>
            <p:cNvPr id="54" name="Gerader Verbinder 53">
              <a:extLst>
                <a:ext uri="{FF2B5EF4-FFF2-40B4-BE49-F238E27FC236}">
                  <a16:creationId xmlns:a16="http://schemas.microsoft.com/office/drawing/2014/main" id="{4D95A093-246B-475B-B5C1-DFCABC1167E3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5890022" y="7150480"/>
              <a:ext cx="411956" cy="0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5" name="Gruppieren 54">
              <a:extLst>
                <a:ext uri="{FF2B5EF4-FFF2-40B4-BE49-F238E27FC236}">
                  <a16:creationId xmlns:a16="http://schemas.microsoft.com/office/drawing/2014/main" id="{7A903E37-A5CD-4C3B-80C7-CB464BC47B1A}"/>
                </a:ext>
              </a:extLst>
            </p:cNvPr>
            <p:cNvGrpSpPr/>
            <p:nvPr/>
          </p:nvGrpSpPr>
          <p:grpSpPr>
            <a:xfrm rot="16200000">
              <a:off x="11362992" y="7044570"/>
              <a:ext cx="411956" cy="211821"/>
              <a:chOff x="-615197" y="4299854"/>
              <a:chExt cx="411956" cy="211821"/>
            </a:xfrm>
          </p:grpSpPr>
          <p:cxnSp>
            <p:nvCxnSpPr>
              <p:cNvPr id="56" name="Gerader Verbinder 55">
                <a:extLst>
                  <a:ext uri="{FF2B5EF4-FFF2-40B4-BE49-F238E27FC236}">
                    <a16:creationId xmlns:a16="http://schemas.microsoft.com/office/drawing/2014/main" id="{6C64B1E1-B242-4FB0-A5FD-EB6A5CEE0FD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7" name="Textfeld 56">
                <a:extLst>
                  <a:ext uri="{FF2B5EF4-FFF2-40B4-BE49-F238E27FC236}">
                    <a16:creationId xmlns:a16="http://schemas.microsoft.com/office/drawing/2014/main" id="{811ADFC4-81F8-4735-AF8F-87B09E25133D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15.50</a:t>
                </a:r>
              </a:p>
            </p:txBody>
          </p:sp>
        </p:grpSp>
      </p:grp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8680E5C6-D968-479F-8A26-E67B39E55BE2}"/>
              </a:ext>
            </a:extLst>
          </p:cNvPr>
          <p:cNvGrpSpPr/>
          <p:nvPr/>
        </p:nvGrpSpPr>
        <p:grpSpPr>
          <a:xfrm>
            <a:off x="-697714" y="80201"/>
            <a:ext cx="411956" cy="6720119"/>
            <a:chOff x="-502267" y="80201"/>
            <a:chExt cx="411956" cy="6720119"/>
          </a:xfrm>
        </p:grpSpPr>
        <p:grpSp>
          <p:nvGrpSpPr>
            <p:cNvPr id="65" name="Gruppieren 64">
              <a:extLst>
                <a:ext uri="{FF2B5EF4-FFF2-40B4-BE49-F238E27FC236}">
                  <a16:creationId xmlns:a16="http://schemas.microsoft.com/office/drawing/2014/main" id="{45D73631-482A-4C31-94AF-E58363664F7A}"/>
                </a:ext>
              </a:extLst>
            </p:cNvPr>
            <p:cNvGrpSpPr/>
            <p:nvPr/>
          </p:nvGrpSpPr>
          <p:grpSpPr>
            <a:xfrm>
              <a:off x="-502267" y="6593340"/>
              <a:ext cx="411956" cy="206980"/>
              <a:chOff x="-615197" y="4452994"/>
              <a:chExt cx="411956" cy="206980"/>
            </a:xfrm>
          </p:grpSpPr>
          <p:sp>
            <p:nvSpPr>
              <p:cNvPr id="82" name="Textfeld 81">
                <a:extLst>
                  <a:ext uri="{FF2B5EF4-FFF2-40B4-BE49-F238E27FC236}">
                    <a16:creationId xmlns:a16="http://schemas.microsoft.com/office/drawing/2014/main" id="{E5C5EBE1-33E9-4380-A9E2-291659F4D95A}"/>
                  </a:ext>
                </a:extLst>
              </p:cNvPr>
              <p:cNvSpPr txBox="1"/>
              <p:nvPr/>
            </p:nvSpPr>
            <p:spPr>
              <a:xfrm>
                <a:off x="-615197" y="445299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8.92</a:t>
                </a:r>
              </a:p>
            </p:txBody>
          </p:sp>
          <p:cxnSp>
            <p:nvCxnSpPr>
              <p:cNvPr id="83" name="Gerader Verbinder 82">
                <a:extLst>
                  <a:ext uri="{FF2B5EF4-FFF2-40B4-BE49-F238E27FC236}">
                    <a16:creationId xmlns:a16="http://schemas.microsoft.com/office/drawing/2014/main" id="{06D32C84-E0A8-4D85-B127-376F47B30D2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97389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uppieren 65">
              <a:extLst>
                <a:ext uri="{FF2B5EF4-FFF2-40B4-BE49-F238E27FC236}">
                  <a16:creationId xmlns:a16="http://schemas.microsoft.com/office/drawing/2014/main" id="{9EA6B39C-54DF-46D5-B92B-AB93FF853F2D}"/>
                </a:ext>
              </a:extLst>
            </p:cNvPr>
            <p:cNvGrpSpPr/>
            <p:nvPr/>
          </p:nvGrpSpPr>
          <p:grpSpPr>
            <a:xfrm>
              <a:off x="-502267" y="5876163"/>
              <a:ext cx="411956" cy="216662"/>
              <a:chOff x="-615197" y="4295013"/>
              <a:chExt cx="411956" cy="216662"/>
            </a:xfrm>
          </p:grpSpPr>
          <p:cxnSp>
            <p:nvCxnSpPr>
              <p:cNvPr id="80" name="Gerader Verbinder 79">
                <a:extLst>
                  <a:ext uri="{FF2B5EF4-FFF2-40B4-BE49-F238E27FC236}">
                    <a16:creationId xmlns:a16="http://schemas.microsoft.com/office/drawing/2014/main" id="{092B48C7-7FA6-4EDA-9619-FAF42281177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1" name="Textfeld 80">
                <a:extLst>
                  <a:ext uri="{FF2B5EF4-FFF2-40B4-BE49-F238E27FC236}">
                    <a16:creationId xmlns:a16="http://schemas.microsoft.com/office/drawing/2014/main" id="{36F518D9-4E09-41B7-825B-7FD22845B38D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7.40</a:t>
                </a:r>
              </a:p>
            </p:txBody>
          </p:sp>
        </p:grpSp>
        <p:grpSp>
          <p:nvGrpSpPr>
            <p:cNvPr id="67" name="Gruppieren 66">
              <a:extLst>
                <a:ext uri="{FF2B5EF4-FFF2-40B4-BE49-F238E27FC236}">
                  <a16:creationId xmlns:a16="http://schemas.microsoft.com/office/drawing/2014/main" id="{A65E0A08-EF39-4547-A13D-AA661D34D2CE}"/>
                </a:ext>
              </a:extLst>
            </p:cNvPr>
            <p:cNvGrpSpPr/>
            <p:nvPr/>
          </p:nvGrpSpPr>
          <p:grpSpPr>
            <a:xfrm>
              <a:off x="-502267" y="3212338"/>
              <a:ext cx="411956" cy="216662"/>
              <a:chOff x="-615197" y="4295013"/>
              <a:chExt cx="411956" cy="216662"/>
            </a:xfrm>
          </p:grpSpPr>
          <p:cxnSp>
            <p:nvCxnSpPr>
              <p:cNvPr id="78" name="Gerader Verbinder 77">
                <a:extLst>
                  <a:ext uri="{FF2B5EF4-FFF2-40B4-BE49-F238E27FC236}">
                    <a16:creationId xmlns:a16="http://schemas.microsoft.com/office/drawing/2014/main" id="{6EFA4495-871B-48F0-881F-C31ED9E4F83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9" name="Textfeld 78">
                <a:extLst>
                  <a:ext uri="{FF2B5EF4-FFF2-40B4-BE49-F238E27FC236}">
                    <a16:creationId xmlns:a16="http://schemas.microsoft.com/office/drawing/2014/main" id="{B7880C48-3B57-4BA1-93AE-8CC6A203417A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0.00</a:t>
                </a:r>
              </a:p>
            </p:txBody>
          </p:sp>
        </p:grpSp>
        <p:grpSp>
          <p:nvGrpSpPr>
            <p:cNvPr id="68" name="Gruppieren 67">
              <a:extLst>
                <a:ext uri="{FF2B5EF4-FFF2-40B4-BE49-F238E27FC236}">
                  <a16:creationId xmlns:a16="http://schemas.microsoft.com/office/drawing/2014/main" id="{C4FFEA28-BD76-44F1-9C33-3503C78E3F14}"/>
                </a:ext>
              </a:extLst>
            </p:cNvPr>
            <p:cNvGrpSpPr/>
            <p:nvPr/>
          </p:nvGrpSpPr>
          <p:grpSpPr>
            <a:xfrm>
              <a:off x="-502267" y="835851"/>
              <a:ext cx="411956" cy="216662"/>
              <a:chOff x="-615197" y="4295013"/>
              <a:chExt cx="411956" cy="216662"/>
            </a:xfrm>
          </p:grpSpPr>
          <p:cxnSp>
            <p:nvCxnSpPr>
              <p:cNvPr id="76" name="Gerader Verbinder 75">
                <a:extLst>
                  <a:ext uri="{FF2B5EF4-FFF2-40B4-BE49-F238E27FC236}">
                    <a16:creationId xmlns:a16="http://schemas.microsoft.com/office/drawing/2014/main" id="{DCAB5C85-C009-49CB-8BB7-603D8BC25CF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7" name="Textfeld 76">
                <a:extLst>
                  <a:ext uri="{FF2B5EF4-FFF2-40B4-BE49-F238E27FC236}">
                    <a16:creationId xmlns:a16="http://schemas.microsoft.com/office/drawing/2014/main" id="{BE3516CE-8623-4F07-A5CA-0AA9E5623AFC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6.60</a:t>
                </a:r>
              </a:p>
            </p:txBody>
          </p:sp>
        </p:grpSp>
        <p:grpSp>
          <p:nvGrpSpPr>
            <p:cNvPr id="70" name="Gruppieren 69">
              <a:extLst>
                <a:ext uri="{FF2B5EF4-FFF2-40B4-BE49-F238E27FC236}">
                  <a16:creationId xmlns:a16="http://schemas.microsoft.com/office/drawing/2014/main" id="{A39642A0-F468-4506-BF15-7321D129AE0F}"/>
                </a:ext>
              </a:extLst>
            </p:cNvPr>
            <p:cNvGrpSpPr/>
            <p:nvPr/>
          </p:nvGrpSpPr>
          <p:grpSpPr>
            <a:xfrm>
              <a:off x="-502267" y="1412113"/>
              <a:ext cx="411956" cy="216662"/>
              <a:chOff x="-615197" y="4295013"/>
              <a:chExt cx="411956" cy="216662"/>
            </a:xfrm>
          </p:grpSpPr>
          <p:cxnSp>
            <p:nvCxnSpPr>
              <p:cNvPr id="74" name="Gerader Verbinder 73">
                <a:extLst>
                  <a:ext uri="{FF2B5EF4-FFF2-40B4-BE49-F238E27FC236}">
                    <a16:creationId xmlns:a16="http://schemas.microsoft.com/office/drawing/2014/main" id="{4772045E-4767-4764-A77C-DCE115C29E0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5" name="Textfeld 74">
                <a:extLst>
                  <a:ext uri="{FF2B5EF4-FFF2-40B4-BE49-F238E27FC236}">
                    <a16:creationId xmlns:a16="http://schemas.microsoft.com/office/drawing/2014/main" id="{B7574531-AD32-4E06-AC64-6A1F78D95AF6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5.00</a:t>
                </a:r>
              </a:p>
            </p:txBody>
          </p:sp>
        </p:grpSp>
        <p:grpSp>
          <p:nvGrpSpPr>
            <p:cNvPr id="71" name="Gruppieren 70">
              <a:extLst>
                <a:ext uri="{FF2B5EF4-FFF2-40B4-BE49-F238E27FC236}">
                  <a16:creationId xmlns:a16="http://schemas.microsoft.com/office/drawing/2014/main" id="{212A55DB-8C35-4E8A-B959-BE7C769F49BA}"/>
                </a:ext>
              </a:extLst>
            </p:cNvPr>
            <p:cNvGrpSpPr/>
            <p:nvPr/>
          </p:nvGrpSpPr>
          <p:grpSpPr>
            <a:xfrm>
              <a:off x="-502267" y="80201"/>
              <a:ext cx="411956" cy="216662"/>
              <a:chOff x="-615197" y="4258501"/>
              <a:chExt cx="411956" cy="216662"/>
            </a:xfrm>
          </p:grpSpPr>
          <p:cxnSp>
            <p:nvCxnSpPr>
              <p:cNvPr id="72" name="Gerader Verbinder 71">
                <a:extLst>
                  <a:ext uri="{FF2B5EF4-FFF2-40B4-BE49-F238E27FC236}">
                    <a16:creationId xmlns:a16="http://schemas.microsoft.com/office/drawing/2014/main" id="{2E63BDCB-6A9F-426F-B4CD-DC50B15EAF7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75163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3" name="Textfeld 72">
                <a:extLst>
                  <a:ext uri="{FF2B5EF4-FFF2-40B4-BE49-F238E27FC236}">
                    <a16:creationId xmlns:a16="http://schemas.microsoft.com/office/drawing/2014/main" id="{22A03284-1DBA-4AA8-816F-09D2A52A3815}"/>
                  </a:ext>
                </a:extLst>
              </p:cNvPr>
              <p:cNvSpPr txBox="1"/>
              <p:nvPr/>
            </p:nvSpPr>
            <p:spPr>
              <a:xfrm>
                <a:off x="-615197" y="4258501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8.70</a:t>
                </a:r>
              </a:p>
            </p:txBody>
          </p:sp>
        </p:grpSp>
      </p:grp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3DC0DA3-14A9-9148-91DC-745C6ED5DC66}"/>
              </a:ext>
            </a:extLst>
          </p:cNvPr>
          <p:cNvGrpSpPr/>
          <p:nvPr/>
        </p:nvGrpSpPr>
        <p:grpSpPr>
          <a:xfrm>
            <a:off x="11170442" y="299244"/>
            <a:ext cx="505400" cy="505400"/>
            <a:chOff x="5423248" y="2756248"/>
            <a:chExt cx="1349978" cy="1349978"/>
          </a:xfrm>
        </p:grpSpPr>
        <p:sp>
          <p:nvSpPr>
            <p:cNvPr id="5" name="Freihandform: Form 4">
              <a:extLst>
                <a:ext uri="{FF2B5EF4-FFF2-40B4-BE49-F238E27FC236}">
                  <a16:creationId xmlns:a16="http://schemas.microsoft.com/office/drawing/2014/main" id="{0CDEF2C3-836C-0C2A-8851-B7B1FF3C25FD}"/>
                </a:ext>
              </a:extLst>
            </p:cNvPr>
            <p:cNvSpPr/>
            <p:nvPr/>
          </p:nvSpPr>
          <p:spPr>
            <a:xfrm>
              <a:off x="5423248" y="2756248"/>
              <a:ext cx="1349978" cy="1349978"/>
            </a:xfrm>
            <a:custGeom>
              <a:avLst/>
              <a:gdLst>
                <a:gd name="connsiteX0" fmla="*/ 1349788 w 1349978"/>
                <a:gd name="connsiteY0" fmla="*/ 1349978 h 1349978"/>
                <a:gd name="connsiteX1" fmla="*/ 675037 w 1349978"/>
                <a:gd name="connsiteY1" fmla="*/ 1205389 h 1349978"/>
                <a:gd name="connsiteX2" fmla="*/ 0 w 1349978"/>
                <a:gd name="connsiteY2" fmla="*/ 1349978 h 1349978"/>
                <a:gd name="connsiteX3" fmla="*/ 0 w 1349978"/>
                <a:gd name="connsiteY3" fmla="*/ 0 h 1349978"/>
                <a:gd name="connsiteX4" fmla="*/ 1349978 w 1349978"/>
                <a:gd name="connsiteY4" fmla="*/ 0 h 1349978"/>
                <a:gd name="connsiteX5" fmla="*/ 1349788 w 1349978"/>
                <a:gd name="connsiteY5" fmla="*/ 1349978 h 1349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49978" h="1349978">
                  <a:moveTo>
                    <a:pt x="1349788" y="1349978"/>
                  </a:moveTo>
                  <a:cubicBezTo>
                    <a:pt x="1143953" y="1257110"/>
                    <a:pt x="915543" y="1205389"/>
                    <a:pt x="675037" y="1205389"/>
                  </a:cubicBezTo>
                  <a:cubicBezTo>
                    <a:pt x="434530" y="1205389"/>
                    <a:pt x="205835" y="1257110"/>
                    <a:pt x="0" y="1349978"/>
                  </a:cubicBezTo>
                  <a:lnTo>
                    <a:pt x="0" y="0"/>
                  </a:lnTo>
                  <a:lnTo>
                    <a:pt x="1349978" y="0"/>
                  </a:lnTo>
                  <a:lnTo>
                    <a:pt x="1349788" y="1349978"/>
                  </a:lnTo>
                  <a:close/>
                </a:path>
              </a:pathLst>
            </a:custGeom>
            <a:solidFill>
              <a:srgbClr val="0F2D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6" name="Grafik 31">
              <a:extLst>
                <a:ext uri="{FF2B5EF4-FFF2-40B4-BE49-F238E27FC236}">
                  <a16:creationId xmlns:a16="http://schemas.microsoft.com/office/drawing/2014/main" id="{6C3D12A5-556C-CBEA-063D-ECDF9BFF4B52}"/>
                </a:ext>
              </a:extLst>
            </p:cNvPr>
            <p:cNvGrpSpPr/>
            <p:nvPr/>
          </p:nvGrpSpPr>
          <p:grpSpPr>
            <a:xfrm>
              <a:off x="5474985" y="3134295"/>
              <a:ext cx="1244293" cy="294132"/>
              <a:chOff x="5474985" y="3134295"/>
              <a:chExt cx="1244293" cy="294132"/>
            </a:xfrm>
            <a:solidFill>
              <a:srgbClr val="FFFFFF"/>
            </a:solidFill>
          </p:grpSpPr>
          <p:sp>
            <p:nvSpPr>
              <p:cNvPr id="7" name="Freihandform: Form 6">
                <a:extLst>
                  <a:ext uri="{FF2B5EF4-FFF2-40B4-BE49-F238E27FC236}">
                    <a16:creationId xmlns:a16="http://schemas.microsoft.com/office/drawing/2014/main" id="{7BA719B4-2EE9-848F-BADF-9E069D35AC6A}"/>
                  </a:ext>
                </a:extLst>
              </p:cNvPr>
              <p:cNvSpPr/>
              <p:nvPr/>
            </p:nvSpPr>
            <p:spPr>
              <a:xfrm>
                <a:off x="5474985" y="3134295"/>
                <a:ext cx="247353" cy="293941"/>
              </a:xfrm>
              <a:custGeom>
                <a:avLst/>
                <a:gdLst>
                  <a:gd name="connsiteX0" fmla="*/ 109998 w 247353"/>
                  <a:gd name="connsiteY0" fmla="*/ 30956 h 293941"/>
                  <a:gd name="connsiteX1" fmla="*/ 41418 w 247353"/>
                  <a:gd name="connsiteY1" fmla="*/ 95250 h 293941"/>
                  <a:gd name="connsiteX2" fmla="*/ 11129 w 247353"/>
                  <a:gd name="connsiteY2" fmla="*/ 95250 h 293941"/>
                  <a:gd name="connsiteX3" fmla="*/ 11129 w 247353"/>
                  <a:gd name="connsiteY3" fmla="*/ 0 h 293941"/>
                  <a:gd name="connsiteX4" fmla="*/ 247349 w 247353"/>
                  <a:gd name="connsiteY4" fmla="*/ 0 h 293941"/>
                  <a:gd name="connsiteX5" fmla="*/ 179340 w 247353"/>
                  <a:gd name="connsiteY5" fmla="*/ 151733 h 293941"/>
                  <a:gd name="connsiteX6" fmla="*/ 111141 w 247353"/>
                  <a:gd name="connsiteY6" fmla="*/ 262795 h 293941"/>
                  <a:gd name="connsiteX7" fmla="*/ 149432 w 247353"/>
                  <a:gd name="connsiteY7" fmla="*/ 262795 h 293941"/>
                  <a:gd name="connsiteX8" fmla="*/ 210011 w 247353"/>
                  <a:gd name="connsiteY8" fmla="*/ 198501 h 293941"/>
                  <a:gd name="connsiteX9" fmla="*/ 241634 w 247353"/>
                  <a:gd name="connsiteY9" fmla="*/ 198501 h 293941"/>
                  <a:gd name="connsiteX10" fmla="*/ 241634 w 247353"/>
                  <a:gd name="connsiteY10" fmla="*/ 293942 h 293941"/>
                  <a:gd name="connsiteX11" fmla="*/ 270 w 247353"/>
                  <a:gd name="connsiteY11" fmla="*/ 293942 h 293941"/>
                  <a:gd name="connsiteX12" fmla="*/ 75137 w 247353"/>
                  <a:gd name="connsiteY12" fmla="*/ 133731 h 293941"/>
                  <a:gd name="connsiteX13" fmla="*/ 138573 w 247353"/>
                  <a:gd name="connsiteY13" fmla="*/ 30671 h 293941"/>
                  <a:gd name="connsiteX14" fmla="*/ 109998 w 247353"/>
                  <a:gd name="connsiteY14" fmla="*/ 30861 h 2939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47353" h="293941">
                    <a:moveTo>
                      <a:pt x="109998" y="30956"/>
                    </a:moveTo>
                    <a:cubicBezTo>
                      <a:pt x="46562" y="30956"/>
                      <a:pt x="41418" y="95250"/>
                      <a:pt x="41418" y="95250"/>
                    </a:cubicBezTo>
                    <a:lnTo>
                      <a:pt x="11129" y="95250"/>
                    </a:lnTo>
                    <a:lnTo>
                      <a:pt x="11129" y="0"/>
                    </a:lnTo>
                    <a:lnTo>
                      <a:pt x="247349" y="0"/>
                    </a:lnTo>
                    <a:cubicBezTo>
                      <a:pt x="247349" y="0"/>
                      <a:pt x="249254" y="73628"/>
                      <a:pt x="179340" y="151733"/>
                    </a:cubicBezTo>
                    <a:cubicBezTo>
                      <a:pt x="179340" y="151733"/>
                      <a:pt x="112856" y="228981"/>
                      <a:pt x="111141" y="262795"/>
                    </a:cubicBezTo>
                    <a:lnTo>
                      <a:pt x="149432" y="262795"/>
                    </a:lnTo>
                    <a:cubicBezTo>
                      <a:pt x="204391" y="262795"/>
                      <a:pt x="210011" y="198501"/>
                      <a:pt x="210011" y="198501"/>
                    </a:cubicBezTo>
                    <a:lnTo>
                      <a:pt x="241634" y="198501"/>
                    </a:lnTo>
                    <a:lnTo>
                      <a:pt x="241634" y="293942"/>
                    </a:lnTo>
                    <a:lnTo>
                      <a:pt x="270" y="293942"/>
                    </a:lnTo>
                    <a:cubicBezTo>
                      <a:pt x="270" y="293942"/>
                      <a:pt x="-8588" y="221647"/>
                      <a:pt x="75137" y="133731"/>
                    </a:cubicBezTo>
                    <a:cubicBezTo>
                      <a:pt x="75137" y="133731"/>
                      <a:pt x="126667" y="76200"/>
                      <a:pt x="138573" y="30671"/>
                    </a:cubicBezTo>
                    <a:lnTo>
                      <a:pt x="109998" y="30861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" name="Freihandform: Form 8">
                <a:extLst>
                  <a:ext uri="{FF2B5EF4-FFF2-40B4-BE49-F238E27FC236}">
                    <a16:creationId xmlns:a16="http://schemas.microsoft.com/office/drawing/2014/main" id="{2F644EBD-BE22-19F1-A176-E48AFFE55640}"/>
                  </a:ext>
                </a:extLst>
              </p:cNvPr>
              <p:cNvSpPr/>
              <p:nvPr/>
            </p:nvSpPr>
            <p:spPr>
              <a:xfrm>
                <a:off x="6030181" y="3134295"/>
                <a:ext cx="156495" cy="293750"/>
              </a:xfrm>
              <a:custGeom>
                <a:avLst/>
                <a:gdLst>
                  <a:gd name="connsiteX0" fmla="*/ 156496 w 156495"/>
                  <a:gd name="connsiteY0" fmla="*/ 293751 h 293750"/>
                  <a:gd name="connsiteX1" fmla="*/ 156496 w 156495"/>
                  <a:gd name="connsiteY1" fmla="*/ 262604 h 293750"/>
                  <a:gd name="connsiteX2" fmla="*/ 149352 w 156495"/>
                  <a:gd name="connsiteY2" fmla="*/ 262604 h 293750"/>
                  <a:gd name="connsiteX3" fmla="*/ 125730 w 156495"/>
                  <a:gd name="connsiteY3" fmla="*/ 238982 h 293750"/>
                  <a:gd name="connsiteX4" fmla="*/ 125730 w 156495"/>
                  <a:gd name="connsiteY4" fmla="*/ 54769 h 293750"/>
                  <a:gd name="connsiteX5" fmla="*/ 149352 w 156495"/>
                  <a:gd name="connsiteY5" fmla="*/ 31147 h 293750"/>
                  <a:gd name="connsiteX6" fmla="*/ 156496 w 156495"/>
                  <a:gd name="connsiteY6" fmla="*/ 31147 h 293750"/>
                  <a:gd name="connsiteX7" fmla="*/ 156496 w 156495"/>
                  <a:gd name="connsiteY7" fmla="*/ 0 h 293750"/>
                  <a:gd name="connsiteX8" fmla="*/ 0 w 156495"/>
                  <a:gd name="connsiteY8" fmla="*/ 0 h 293750"/>
                  <a:gd name="connsiteX9" fmla="*/ 0 w 156495"/>
                  <a:gd name="connsiteY9" fmla="*/ 31147 h 293750"/>
                  <a:gd name="connsiteX10" fmla="*/ 7144 w 156495"/>
                  <a:gd name="connsiteY10" fmla="*/ 31147 h 293750"/>
                  <a:gd name="connsiteX11" fmla="*/ 30956 w 156495"/>
                  <a:gd name="connsiteY11" fmla="*/ 54769 h 293750"/>
                  <a:gd name="connsiteX12" fmla="*/ 30956 w 156495"/>
                  <a:gd name="connsiteY12" fmla="*/ 238982 h 293750"/>
                  <a:gd name="connsiteX13" fmla="*/ 7144 w 156495"/>
                  <a:gd name="connsiteY13" fmla="*/ 262604 h 293750"/>
                  <a:gd name="connsiteX14" fmla="*/ 0 w 156495"/>
                  <a:gd name="connsiteY14" fmla="*/ 262604 h 293750"/>
                  <a:gd name="connsiteX15" fmla="*/ 0 w 156495"/>
                  <a:gd name="connsiteY15" fmla="*/ 293751 h 293750"/>
                  <a:gd name="connsiteX16" fmla="*/ 156496 w 156495"/>
                  <a:gd name="connsiteY16" fmla="*/ 293751 h 293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56495" h="293750">
                    <a:moveTo>
                      <a:pt x="156496" y="293751"/>
                    </a:moveTo>
                    <a:lnTo>
                      <a:pt x="156496" y="262604"/>
                    </a:lnTo>
                    <a:lnTo>
                      <a:pt x="149352" y="262604"/>
                    </a:lnTo>
                    <a:cubicBezTo>
                      <a:pt x="136398" y="262604"/>
                      <a:pt x="125730" y="251936"/>
                      <a:pt x="125730" y="238982"/>
                    </a:cubicBezTo>
                    <a:lnTo>
                      <a:pt x="125730" y="54769"/>
                    </a:lnTo>
                    <a:cubicBezTo>
                      <a:pt x="125730" y="41815"/>
                      <a:pt x="136303" y="31147"/>
                      <a:pt x="149352" y="31147"/>
                    </a:cubicBezTo>
                    <a:lnTo>
                      <a:pt x="156496" y="31147"/>
                    </a:lnTo>
                    <a:lnTo>
                      <a:pt x="156496" y="0"/>
                    </a:lnTo>
                    <a:lnTo>
                      <a:pt x="0" y="0"/>
                    </a:lnTo>
                    <a:lnTo>
                      <a:pt x="0" y="31147"/>
                    </a:lnTo>
                    <a:lnTo>
                      <a:pt x="7144" y="31147"/>
                    </a:lnTo>
                    <a:cubicBezTo>
                      <a:pt x="20383" y="31147"/>
                      <a:pt x="30956" y="41720"/>
                      <a:pt x="30956" y="54769"/>
                    </a:cubicBezTo>
                    <a:lnTo>
                      <a:pt x="30956" y="238982"/>
                    </a:lnTo>
                    <a:cubicBezTo>
                      <a:pt x="30956" y="251936"/>
                      <a:pt x="20383" y="262604"/>
                      <a:pt x="7144" y="262604"/>
                    </a:cubicBezTo>
                    <a:lnTo>
                      <a:pt x="0" y="262604"/>
                    </a:lnTo>
                    <a:lnTo>
                      <a:pt x="0" y="293751"/>
                    </a:lnTo>
                    <a:lnTo>
                      <a:pt x="156496" y="293751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" name="Freihandform: Form 9">
                <a:extLst>
                  <a:ext uri="{FF2B5EF4-FFF2-40B4-BE49-F238E27FC236}">
                    <a16:creationId xmlns:a16="http://schemas.microsoft.com/office/drawing/2014/main" id="{F0911834-821C-223A-7862-65EF773739DE}"/>
                  </a:ext>
                </a:extLst>
              </p:cNvPr>
              <p:cNvSpPr/>
              <p:nvPr/>
            </p:nvSpPr>
            <p:spPr>
              <a:xfrm>
                <a:off x="5748718" y="3134295"/>
                <a:ext cx="248983" cy="294132"/>
              </a:xfrm>
              <a:custGeom>
                <a:avLst/>
                <a:gdLst>
                  <a:gd name="connsiteX0" fmla="*/ 248983 w 248983"/>
                  <a:gd name="connsiteY0" fmla="*/ 294037 h 294132"/>
                  <a:gd name="connsiteX1" fmla="*/ 248983 w 248983"/>
                  <a:gd name="connsiteY1" fmla="*/ 198596 h 294132"/>
                  <a:gd name="connsiteX2" fmla="*/ 217361 w 248983"/>
                  <a:gd name="connsiteY2" fmla="*/ 198596 h 294132"/>
                  <a:gd name="connsiteX3" fmla="*/ 156496 w 248983"/>
                  <a:gd name="connsiteY3" fmla="*/ 262890 h 294132"/>
                  <a:gd name="connsiteX4" fmla="*/ 124873 w 248983"/>
                  <a:gd name="connsiteY4" fmla="*/ 262890 h 294132"/>
                  <a:gd name="connsiteX5" fmla="*/ 124873 w 248983"/>
                  <a:gd name="connsiteY5" fmla="*/ 162687 h 294132"/>
                  <a:gd name="connsiteX6" fmla="*/ 136112 w 248983"/>
                  <a:gd name="connsiteY6" fmla="*/ 162687 h 294132"/>
                  <a:gd name="connsiteX7" fmla="*/ 159925 w 248983"/>
                  <a:gd name="connsiteY7" fmla="*/ 186500 h 294132"/>
                  <a:gd name="connsiteX8" fmla="*/ 159925 w 248983"/>
                  <a:gd name="connsiteY8" fmla="*/ 198406 h 294132"/>
                  <a:gd name="connsiteX9" fmla="*/ 191071 w 248983"/>
                  <a:gd name="connsiteY9" fmla="*/ 198406 h 294132"/>
                  <a:gd name="connsiteX10" fmla="*/ 191071 w 248983"/>
                  <a:gd name="connsiteY10" fmla="*/ 95631 h 294132"/>
                  <a:gd name="connsiteX11" fmla="*/ 159925 w 248983"/>
                  <a:gd name="connsiteY11" fmla="*/ 95631 h 294132"/>
                  <a:gd name="connsiteX12" fmla="*/ 159925 w 248983"/>
                  <a:gd name="connsiteY12" fmla="*/ 107537 h 294132"/>
                  <a:gd name="connsiteX13" fmla="*/ 136112 w 248983"/>
                  <a:gd name="connsiteY13" fmla="*/ 131350 h 294132"/>
                  <a:gd name="connsiteX14" fmla="*/ 124873 w 248983"/>
                  <a:gd name="connsiteY14" fmla="*/ 131350 h 294132"/>
                  <a:gd name="connsiteX15" fmla="*/ 124873 w 248983"/>
                  <a:gd name="connsiteY15" fmla="*/ 31147 h 294132"/>
                  <a:gd name="connsiteX16" fmla="*/ 156496 w 248983"/>
                  <a:gd name="connsiteY16" fmla="*/ 31147 h 294132"/>
                  <a:gd name="connsiteX17" fmla="*/ 217361 w 248983"/>
                  <a:gd name="connsiteY17" fmla="*/ 95441 h 294132"/>
                  <a:gd name="connsiteX18" fmla="*/ 248983 w 248983"/>
                  <a:gd name="connsiteY18" fmla="*/ 95441 h 294132"/>
                  <a:gd name="connsiteX19" fmla="*/ 248983 w 248983"/>
                  <a:gd name="connsiteY19" fmla="*/ 0 h 294132"/>
                  <a:gd name="connsiteX20" fmla="*/ 0 w 248983"/>
                  <a:gd name="connsiteY20" fmla="*/ 0 h 294132"/>
                  <a:gd name="connsiteX21" fmla="*/ 0 w 248983"/>
                  <a:gd name="connsiteY21" fmla="*/ 31337 h 294132"/>
                  <a:gd name="connsiteX22" fmla="*/ 7144 w 248983"/>
                  <a:gd name="connsiteY22" fmla="*/ 31337 h 294132"/>
                  <a:gd name="connsiteX23" fmla="*/ 30766 w 248983"/>
                  <a:gd name="connsiteY23" fmla="*/ 54959 h 294132"/>
                  <a:gd name="connsiteX24" fmla="*/ 30766 w 248983"/>
                  <a:gd name="connsiteY24" fmla="*/ 239173 h 294132"/>
                  <a:gd name="connsiteX25" fmla="*/ 7144 w 248983"/>
                  <a:gd name="connsiteY25" fmla="*/ 262795 h 294132"/>
                  <a:gd name="connsiteX26" fmla="*/ 0 w 248983"/>
                  <a:gd name="connsiteY26" fmla="*/ 262795 h 294132"/>
                  <a:gd name="connsiteX27" fmla="*/ 0 w 248983"/>
                  <a:gd name="connsiteY27" fmla="*/ 293942 h 294132"/>
                  <a:gd name="connsiteX28" fmla="*/ 248983 w 248983"/>
                  <a:gd name="connsiteY28" fmla="*/ 294132 h 294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248983" h="294132">
                    <a:moveTo>
                      <a:pt x="248983" y="294037"/>
                    </a:moveTo>
                    <a:lnTo>
                      <a:pt x="248983" y="198596"/>
                    </a:lnTo>
                    <a:lnTo>
                      <a:pt x="217361" y="198596"/>
                    </a:lnTo>
                    <a:cubicBezTo>
                      <a:pt x="217361" y="198596"/>
                      <a:pt x="211550" y="262890"/>
                      <a:pt x="156496" y="262890"/>
                    </a:cubicBezTo>
                    <a:lnTo>
                      <a:pt x="124873" y="262890"/>
                    </a:lnTo>
                    <a:lnTo>
                      <a:pt x="124873" y="162687"/>
                    </a:lnTo>
                    <a:lnTo>
                      <a:pt x="136112" y="162687"/>
                    </a:lnTo>
                    <a:cubicBezTo>
                      <a:pt x="149352" y="162687"/>
                      <a:pt x="159925" y="173355"/>
                      <a:pt x="159925" y="186500"/>
                    </a:cubicBezTo>
                    <a:lnTo>
                      <a:pt x="159925" y="198406"/>
                    </a:lnTo>
                    <a:lnTo>
                      <a:pt x="191071" y="198406"/>
                    </a:lnTo>
                    <a:lnTo>
                      <a:pt x="191071" y="95631"/>
                    </a:lnTo>
                    <a:lnTo>
                      <a:pt x="159925" y="95631"/>
                    </a:lnTo>
                    <a:lnTo>
                      <a:pt x="159925" y="107537"/>
                    </a:lnTo>
                    <a:cubicBezTo>
                      <a:pt x="159925" y="120777"/>
                      <a:pt x="149352" y="131350"/>
                      <a:pt x="136112" y="131350"/>
                    </a:cubicBezTo>
                    <a:lnTo>
                      <a:pt x="124873" y="131350"/>
                    </a:lnTo>
                    <a:lnTo>
                      <a:pt x="124873" y="31147"/>
                    </a:lnTo>
                    <a:lnTo>
                      <a:pt x="156496" y="31147"/>
                    </a:lnTo>
                    <a:cubicBezTo>
                      <a:pt x="211455" y="31147"/>
                      <a:pt x="217361" y="95441"/>
                      <a:pt x="217361" y="95441"/>
                    </a:cubicBezTo>
                    <a:lnTo>
                      <a:pt x="248983" y="95441"/>
                    </a:lnTo>
                    <a:lnTo>
                      <a:pt x="248983" y="0"/>
                    </a:lnTo>
                    <a:lnTo>
                      <a:pt x="0" y="0"/>
                    </a:lnTo>
                    <a:lnTo>
                      <a:pt x="0" y="31337"/>
                    </a:lnTo>
                    <a:lnTo>
                      <a:pt x="7144" y="31337"/>
                    </a:lnTo>
                    <a:cubicBezTo>
                      <a:pt x="20098" y="31337"/>
                      <a:pt x="30766" y="42005"/>
                      <a:pt x="30766" y="54959"/>
                    </a:cubicBezTo>
                    <a:lnTo>
                      <a:pt x="30766" y="239173"/>
                    </a:lnTo>
                    <a:cubicBezTo>
                      <a:pt x="30766" y="252127"/>
                      <a:pt x="20193" y="262795"/>
                      <a:pt x="7144" y="262795"/>
                    </a:cubicBezTo>
                    <a:lnTo>
                      <a:pt x="0" y="262795"/>
                    </a:lnTo>
                    <a:lnTo>
                      <a:pt x="0" y="293942"/>
                    </a:lnTo>
                    <a:lnTo>
                      <a:pt x="248983" y="294132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" name="Freihandform: Form 10">
                <a:extLst>
                  <a:ext uri="{FF2B5EF4-FFF2-40B4-BE49-F238E27FC236}">
                    <a16:creationId xmlns:a16="http://schemas.microsoft.com/office/drawing/2014/main" id="{60EAE9CB-B5F2-D31C-8589-D40E657A8B26}"/>
                  </a:ext>
                </a:extLst>
              </p:cNvPr>
              <p:cNvSpPr/>
              <p:nvPr/>
            </p:nvSpPr>
            <p:spPr>
              <a:xfrm>
                <a:off x="6217588" y="3134295"/>
                <a:ext cx="237562" cy="293941"/>
              </a:xfrm>
              <a:custGeom>
                <a:avLst/>
                <a:gdLst>
                  <a:gd name="connsiteX0" fmla="*/ 133586 w 237562"/>
                  <a:gd name="connsiteY0" fmla="*/ 30956 h 293941"/>
                  <a:gd name="connsiteX1" fmla="*/ 201976 w 237562"/>
                  <a:gd name="connsiteY1" fmla="*/ 95250 h 293941"/>
                  <a:gd name="connsiteX2" fmla="*/ 232551 w 237562"/>
                  <a:gd name="connsiteY2" fmla="*/ 95250 h 293941"/>
                  <a:gd name="connsiteX3" fmla="*/ 232551 w 237562"/>
                  <a:gd name="connsiteY3" fmla="*/ 0 h 293941"/>
                  <a:gd name="connsiteX4" fmla="*/ 6713 w 237562"/>
                  <a:gd name="connsiteY4" fmla="*/ 0 h 293941"/>
                  <a:gd name="connsiteX5" fmla="*/ 64339 w 237562"/>
                  <a:gd name="connsiteY5" fmla="*/ 151733 h 293941"/>
                  <a:gd name="connsiteX6" fmla="*/ 132348 w 237562"/>
                  <a:gd name="connsiteY6" fmla="*/ 262795 h 293941"/>
                  <a:gd name="connsiteX7" fmla="*/ 94248 w 237562"/>
                  <a:gd name="connsiteY7" fmla="*/ 262795 h 293941"/>
                  <a:gd name="connsiteX8" fmla="*/ 33383 w 237562"/>
                  <a:gd name="connsiteY8" fmla="*/ 198501 h 293941"/>
                  <a:gd name="connsiteX9" fmla="*/ 1760 w 237562"/>
                  <a:gd name="connsiteY9" fmla="*/ 198501 h 293941"/>
                  <a:gd name="connsiteX10" fmla="*/ 1760 w 237562"/>
                  <a:gd name="connsiteY10" fmla="*/ 293942 h 293941"/>
                  <a:gd name="connsiteX11" fmla="*/ 229312 w 237562"/>
                  <a:gd name="connsiteY11" fmla="*/ 293942 h 293941"/>
                  <a:gd name="connsiteX12" fmla="*/ 168257 w 237562"/>
                  <a:gd name="connsiteY12" fmla="*/ 133731 h 293941"/>
                  <a:gd name="connsiteX13" fmla="*/ 104821 w 237562"/>
                  <a:gd name="connsiteY13" fmla="*/ 30671 h 293941"/>
                  <a:gd name="connsiteX14" fmla="*/ 133586 w 237562"/>
                  <a:gd name="connsiteY14" fmla="*/ 30861 h 2939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37562" h="293941">
                    <a:moveTo>
                      <a:pt x="133586" y="30956"/>
                    </a:moveTo>
                    <a:cubicBezTo>
                      <a:pt x="197023" y="30956"/>
                      <a:pt x="201976" y="95250"/>
                      <a:pt x="201976" y="95250"/>
                    </a:cubicBezTo>
                    <a:lnTo>
                      <a:pt x="232551" y="95250"/>
                    </a:lnTo>
                    <a:lnTo>
                      <a:pt x="232551" y="0"/>
                    </a:lnTo>
                    <a:lnTo>
                      <a:pt x="6713" y="0"/>
                    </a:lnTo>
                    <a:cubicBezTo>
                      <a:pt x="6713" y="0"/>
                      <a:pt x="-29006" y="46768"/>
                      <a:pt x="64339" y="151733"/>
                    </a:cubicBezTo>
                    <a:cubicBezTo>
                      <a:pt x="64339" y="151733"/>
                      <a:pt x="130538" y="228981"/>
                      <a:pt x="132348" y="262795"/>
                    </a:cubicBezTo>
                    <a:lnTo>
                      <a:pt x="94248" y="262795"/>
                    </a:lnTo>
                    <a:cubicBezTo>
                      <a:pt x="39289" y="262795"/>
                      <a:pt x="33383" y="198501"/>
                      <a:pt x="33383" y="198501"/>
                    </a:cubicBezTo>
                    <a:lnTo>
                      <a:pt x="1760" y="198501"/>
                    </a:lnTo>
                    <a:lnTo>
                      <a:pt x="1760" y="293942"/>
                    </a:lnTo>
                    <a:lnTo>
                      <a:pt x="229312" y="293942"/>
                    </a:lnTo>
                    <a:cubicBezTo>
                      <a:pt x="229312" y="293942"/>
                      <a:pt x="270651" y="249365"/>
                      <a:pt x="168257" y="133731"/>
                    </a:cubicBezTo>
                    <a:cubicBezTo>
                      <a:pt x="168257" y="133731"/>
                      <a:pt x="114536" y="78581"/>
                      <a:pt x="104821" y="30671"/>
                    </a:cubicBezTo>
                    <a:lnTo>
                      <a:pt x="133586" y="30861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" name="Freihandform: Form 11">
                <a:extLst>
                  <a:ext uri="{FF2B5EF4-FFF2-40B4-BE49-F238E27FC236}">
                    <a16:creationId xmlns:a16="http://schemas.microsoft.com/office/drawing/2014/main" id="{9A124F65-98FF-9F49-EE6C-791267ED0433}"/>
                  </a:ext>
                </a:extLst>
              </p:cNvPr>
              <p:cNvSpPr/>
              <p:nvPr/>
            </p:nvSpPr>
            <p:spPr>
              <a:xfrm>
                <a:off x="6481716" y="3134295"/>
                <a:ext cx="237562" cy="293941"/>
              </a:xfrm>
              <a:custGeom>
                <a:avLst/>
                <a:gdLst>
                  <a:gd name="connsiteX0" fmla="*/ 133586 w 237562"/>
                  <a:gd name="connsiteY0" fmla="*/ 30956 h 293941"/>
                  <a:gd name="connsiteX1" fmla="*/ 201976 w 237562"/>
                  <a:gd name="connsiteY1" fmla="*/ 95250 h 293941"/>
                  <a:gd name="connsiteX2" fmla="*/ 232265 w 237562"/>
                  <a:gd name="connsiteY2" fmla="*/ 95250 h 293941"/>
                  <a:gd name="connsiteX3" fmla="*/ 232265 w 237562"/>
                  <a:gd name="connsiteY3" fmla="*/ 0 h 293941"/>
                  <a:gd name="connsiteX4" fmla="*/ 6713 w 237562"/>
                  <a:gd name="connsiteY4" fmla="*/ 0 h 293941"/>
                  <a:gd name="connsiteX5" fmla="*/ 64339 w 237562"/>
                  <a:gd name="connsiteY5" fmla="*/ 151733 h 293941"/>
                  <a:gd name="connsiteX6" fmla="*/ 132348 w 237562"/>
                  <a:gd name="connsiteY6" fmla="*/ 262795 h 293941"/>
                  <a:gd name="connsiteX7" fmla="*/ 94248 w 237562"/>
                  <a:gd name="connsiteY7" fmla="*/ 262795 h 293941"/>
                  <a:gd name="connsiteX8" fmla="*/ 33383 w 237562"/>
                  <a:gd name="connsiteY8" fmla="*/ 198501 h 293941"/>
                  <a:gd name="connsiteX9" fmla="*/ 1760 w 237562"/>
                  <a:gd name="connsiteY9" fmla="*/ 198501 h 293941"/>
                  <a:gd name="connsiteX10" fmla="*/ 1760 w 237562"/>
                  <a:gd name="connsiteY10" fmla="*/ 293942 h 293941"/>
                  <a:gd name="connsiteX11" fmla="*/ 229313 w 237562"/>
                  <a:gd name="connsiteY11" fmla="*/ 293942 h 293941"/>
                  <a:gd name="connsiteX12" fmla="*/ 168257 w 237562"/>
                  <a:gd name="connsiteY12" fmla="*/ 133731 h 293941"/>
                  <a:gd name="connsiteX13" fmla="*/ 104821 w 237562"/>
                  <a:gd name="connsiteY13" fmla="*/ 30671 h 293941"/>
                  <a:gd name="connsiteX14" fmla="*/ 133586 w 237562"/>
                  <a:gd name="connsiteY14" fmla="*/ 30861 h 2939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37562" h="293941">
                    <a:moveTo>
                      <a:pt x="133586" y="30956"/>
                    </a:moveTo>
                    <a:cubicBezTo>
                      <a:pt x="196832" y="30956"/>
                      <a:pt x="201976" y="95250"/>
                      <a:pt x="201976" y="95250"/>
                    </a:cubicBezTo>
                    <a:lnTo>
                      <a:pt x="232265" y="95250"/>
                    </a:lnTo>
                    <a:lnTo>
                      <a:pt x="232265" y="0"/>
                    </a:lnTo>
                    <a:lnTo>
                      <a:pt x="6713" y="0"/>
                    </a:lnTo>
                    <a:cubicBezTo>
                      <a:pt x="6713" y="0"/>
                      <a:pt x="-29006" y="46768"/>
                      <a:pt x="64339" y="151733"/>
                    </a:cubicBezTo>
                    <a:cubicBezTo>
                      <a:pt x="64339" y="151733"/>
                      <a:pt x="130538" y="228981"/>
                      <a:pt x="132348" y="262795"/>
                    </a:cubicBezTo>
                    <a:lnTo>
                      <a:pt x="94248" y="262795"/>
                    </a:lnTo>
                    <a:cubicBezTo>
                      <a:pt x="39289" y="262795"/>
                      <a:pt x="33383" y="198501"/>
                      <a:pt x="33383" y="198501"/>
                    </a:cubicBezTo>
                    <a:lnTo>
                      <a:pt x="1760" y="198501"/>
                    </a:lnTo>
                    <a:lnTo>
                      <a:pt x="1760" y="293942"/>
                    </a:lnTo>
                    <a:lnTo>
                      <a:pt x="229313" y="293942"/>
                    </a:lnTo>
                    <a:cubicBezTo>
                      <a:pt x="229313" y="293942"/>
                      <a:pt x="270651" y="249365"/>
                      <a:pt x="168257" y="133731"/>
                    </a:cubicBezTo>
                    <a:cubicBezTo>
                      <a:pt x="168257" y="133731"/>
                      <a:pt x="114536" y="78581"/>
                      <a:pt x="104821" y="30671"/>
                    </a:cubicBezTo>
                    <a:lnTo>
                      <a:pt x="133586" y="30861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A33354E4-467A-2FB0-B348-F54EEE270D0F}"/>
              </a:ext>
            </a:extLst>
          </p:cNvPr>
          <p:cNvGrpSpPr/>
          <p:nvPr userDrawn="1"/>
        </p:nvGrpSpPr>
        <p:grpSpPr>
          <a:xfrm>
            <a:off x="304116" y="-697714"/>
            <a:ext cx="11370764" cy="411957"/>
            <a:chOff x="304116" y="6944502"/>
            <a:chExt cx="11370764" cy="411957"/>
          </a:xfrm>
        </p:grpSpPr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2B076AEF-8DC2-0992-B167-E8546C4F7962}"/>
                </a:ext>
              </a:extLst>
            </p:cNvPr>
            <p:cNvGrpSpPr/>
            <p:nvPr/>
          </p:nvGrpSpPr>
          <p:grpSpPr>
            <a:xfrm rot="16200000">
              <a:off x="204049" y="7044570"/>
              <a:ext cx="411956" cy="211821"/>
              <a:chOff x="-615197" y="4299854"/>
              <a:chExt cx="411956" cy="211821"/>
            </a:xfrm>
          </p:grpSpPr>
          <p:cxnSp>
            <p:nvCxnSpPr>
              <p:cNvPr id="24" name="Gerader Verbinder 23">
                <a:extLst>
                  <a:ext uri="{FF2B5EF4-FFF2-40B4-BE49-F238E27FC236}">
                    <a16:creationId xmlns:a16="http://schemas.microsoft.com/office/drawing/2014/main" id="{31126C36-2907-387E-6F4B-BC859215B95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5" name="Textfeld 24">
                <a:extLst>
                  <a:ext uri="{FF2B5EF4-FFF2-40B4-BE49-F238E27FC236}">
                    <a16:creationId xmlns:a16="http://schemas.microsoft.com/office/drawing/2014/main" id="{5EE31678-CF90-FD3F-73C3-597B1AABA9EC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15.50</a:t>
                </a:r>
              </a:p>
            </p:txBody>
          </p:sp>
        </p:grp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09C12ABE-D09D-5182-8691-01736C3FE648}"/>
                </a:ext>
              </a:extLst>
            </p:cNvPr>
            <p:cNvGrpSpPr/>
            <p:nvPr/>
          </p:nvGrpSpPr>
          <p:grpSpPr>
            <a:xfrm rot="16200000">
              <a:off x="5639649" y="7044570"/>
              <a:ext cx="411956" cy="211821"/>
              <a:chOff x="-615197" y="4299854"/>
              <a:chExt cx="411956" cy="211821"/>
            </a:xfrm>
          </p:grpSpPr>
          <p:cxnSp>
            <p:nvCxnSpPr>
              <p:cNvPr id="22" name="Gerader Verbinder 21">
                <a:extLst>
                  <a:ext uri="{FF2B5EF4-FFF2-40B4-BE49-F238E27FC236}">
                    <a16:creationId xmlns:a16="http://schemas.microsoft.com/office/drawing/2014/main" id="{BDF76EE5-5722-8D52-6F85-25CD03191FC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" name="Textfeld 22">
                <a:extLst>
                  <a:ext uri="{FF2B5EF4-FFF2-40B4-BE49-F238E27FC236}">
                    <a16:creationId xmlns:a16="http://schemas.microsoft.com/office/drawing/2014/main" id="{541C4A26-A953-77DA-4323-D069D23C2EE4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0.40</a:t>
                </a:r>
              </a:p>
            </p:txBody>
          </p:sp>
        </p:grp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8CB8DCB-FD97-4692-F9FD-7D245357E6EE}"/>
                </a:ext>
              </a:extLst>
            </p:cNvPr>
            <p:cNvGrpSpPr/>
            <p:nvPr/>
          </p:nvGrpSpPr>
          <p:grpSpPr>
            <a:xfrm rot="5400000">
              <a:off x="6093326" y="7046990"/>
              <a:ext cx="411956" cy="206980"/>
              <a:chOff x="-615197" y="4350961"/>
              <a:chExt cx="411956" cy="206980"/>
            </a:xfrm>
          </p:grpSpPr>
          <p:cxnSp>
            <p:nvCxnSpPr>
              <p:cNvPr id="20" name="Gerader Verbinder 19">
                <a:extLst>
                  <a:ext uri="{FF2B5EF4-FFF2-40B4-BE49-F238E27FC236}">
                    <a16:creationId xmlns:a16="http://schemas.microsoft.com/office/drawing/2014/main" id="{70B4D0BA-1438-E79C-2F93-A0602716A95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" name="Textfeld 20">
                <a:extLst>
                  <a:ext uri="{FF2B5EF4-FFF2-40B4-BE49-F238E27FC236}">
                    <a16:creationId xmlns:a16="http://schemas.microsoft.com/office/drawing/2014/main" id="{CC270C15-8C65-BC31-0BFC-61CDC035A0DE}"/>
                  </a:ext>
                </a:extLst>
              </p:cNvPr>
              <p:cNvSpPr txBox="1"/>
              <p:nvPr/>
            </p:nvSpPr>
            <p:spPr>
              <a:xfrm rot="10800000">
                <a:off x="-615197" y="4350961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0.40</a:t>
                </a:r>
              </a:p>
            </p:txBody>
          </p:sp>
        </p:grp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4EB2C243-A451-BAF9-FA0C-8B39B7AF8B98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5890022" y="7150480"/>
              <a:ext cx="411956" cy="0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89181C2E-024C-4987-06CB-30D4E4EC9594}"/>
                </a:ext>
              </a:extLst>
            </p:cNvPr>
            <p:cNvGrpSpPr/>
            <p:nvPr/>
          </p:nvGrpSpPr>
          <p:grpSpPr>
            <a:xfrm rot="16200000">
              <a:off x="11362992" y="7044570"/>
              <a:ext cx="411956" cy="211821"/>
              <a:chOff x="-615197" y="4299854"/>
              <a:chExt cx="411956" cy="211821"/>
            </a:xfrm>
          </p:grpSpPr>
          <p:cxnSp>
            <p:nvCxnSpPr>
              <p:cNvPr id="18" name="Gerader Verbinder 17">
                <a:extLst>
                  <a:ext uri="{FF2B5EF4-FFF2-40B4-BE49-F238E27FC236}">
                    <a16:creationId xmlns:a16="http://schemas.microsoft.com/office/drawing/2014/main" id="{9CB3217A-D8A5-26C8-4D90-080BF331540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" name="Textfeld 18">
                <a:extLst>
                  <a:ext uri="{FF2B5EF4-FFF2-40B4-BE49-F238E27FC236}">
                    <a16:creationId xmlns:a16="http://schemas.microsoft.com/office/drawing/2014/main" id="{DCF094CA-1707-F84D-C088-F908E3F7D8A5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15.50</a:t>
                </a:r>
              </a:p>
            </p:txBody>
          </p:sp>
        </p:grpSp>
      </p:grp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9DB5A3F2-351D-A25A-1526-7E92E15274B1}"/>
              </a:ext>
            </a:extLst>
          </p:cNvPr>
          <p:cNvGrpSpPr/>
          <p:nvPr userDrawn="1"/>
        </p:nvGrpSpPr>
        <p:grpSpPr>
          <a:xfrm>
            <a:off x="-697714" y="80201"/>
            <a:ext cx="411956" cy="6720119"/>
            <a:chOff x="-502267" y="80201"/>
            <a:chExt cx="411956" cy="6720119"/>
          </a:xfrm>
        </p:grpSpPr>
        <p:grpSp>
          <p:nvGrpSpPr>
            <p:cNvPr id="27" name="Gruppieren 26">
              <a:extLst>
                <a:ext uri="{FF2B5EF4-FFF2-40B4-BE49-F238E27FC236}">
                  <a16:creationId xmlns:a16="http://schemas.microsoft.com/office/drawing/2014/main" id="{E01072AC-064F-A9B9-41CC-58EF5604128A}"/>
                </a:ext>
              </a:extLst>
            </p:cNvPr>
            <p:cNvGrpSpPr/>
            <p:nvPr/>
          </p:nvGrpSpPr>
          <p:grpSpPr>
            <a:xfrm>
              <a:off x="-502267" y="6593340"/>
              <a:ext cx="411956" cy="206980"/>
              <a:chOff x="-615197" y="4452994"/>
              <a:chExt cx="411956" cy="206980"/>
            </a:xfrm>
          </p:grpSpPr>
          <p:sp>
            <p:nvSpPr>
              <p:cNvPr id="44" name="Textfeld 43">
                <a:extLst>
                  <a:ext uri="{FF2B5EF4-FFF2-40B4-BE49-F238E27FC236}">
                    <a16:creationId xmlns:a16="http://schemas.microsoft.com/office/drawing/2014/main" id="{A931E0D1-7894-CEDF-CCA1-7EE769912C29}"/>
                  </a:ext>
                </a:extLst>
              </p:cNvPr>
              <p:cNvSpPr txBox="1"/>
              <p:nvPr/>
            </p:nvSpPr>
            <p:spPr>
              <a:xfrm>
                <a:off x="-615197" y="445299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8.92</a:t>
                </a:r>
              </a:p>
            </p:txBody>
          </p:sp>
          <p:cxnSp>
            <p:nvCxnSpPr>
              <p:cNvPr id="45" name="Gerader Verbinder 44">
                <a:extLst>
                  <a:ext uri="{FF2B5EF4-FFF2-40B4-BE49-F238E27FC236}">
                    <a16:creationId xmlns:a16="http://schemas.microsoft.com/office/drawing/2014/main" id="{5D15E85A-24D3-39B0-3CC1-7AEFFB829FA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97389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31AB0E30-75BC-EDB8-B009-5A2E706F7687}"/>
                </a:ext>
              </a:extLst>
            </p:cNvPr>
            <p:cNvGrpSpPr/>
            <p:nvPr/>
          </p:nvGrpSpPr>
          <p:grpSpPr>
            <a:xfrm>
              <a:off x="-502267" y="5876163"/>
              <a:ext cx="411956" cy="216662"/>
              <a:chOff x="-615197" y="4295013"/>
              <a:chExt cx="411956" cy="216662"/>
            </a:xfrm>
          </p:grpSpPr>
          <p:cxnSp>
            <p:nvCxnSpPr>
              <p:cNvPr id="42" name="Gerader Verbinder 41">
                <a:extLst>
                  <a:ext uri="{FF2B5EF4-FFF2-40B4-BE49-F238E27FC236}">
                    <a16:creationId xmlns:a16="http://schemas.microsoft.com/office/drawing/2014/main" id="{F0E24D11-A6B5-6ED0-D16C-89BD0736175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3" name="Textfeld 42">
                <a:extLst>
                  <a:ext uri="{FF2B5EF4-FFF2-40B4-BE49-F238E27FC236}">
                    <a16:creationId xmlns:a16="http://schemas.microsoft.com/office/drawing/2014/main" id="{BFDC7D26-561D-E096-161F-BB2B77AF160B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7.40</a:t>
                </a:r>
              </a:p>
            </p:txBody>
          </p:sp>
        </p:grp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6E7FD51B-7DAD-6679-B026-F7171CE2BF70}"/>
                </a:ext>
              </a:extLst>
            </p:cNvPr>
            <p:cNvGrpSpPr/>
            <p:nvPr/>
          </p:nvGrpSpPr>
          <p:grpSpPr>
            <a:xfrm>
              <a:off x="-502267" y="3212338"/>
              <a:ext cx="411956" cy="216662"/>
              <a:chOff x="-615197" y="4295013"/>
              <a:chExt cx="411956" cy="216662"/>
            </a:xfrm>
          </p:grpSpPr>
          <p:cxnSp>
            <p:nvCxnSpPr>
              <p:cNvPr id="40" name="Gerader Verbinder 39">
                <a:extLst>
                  <a:ext uri="{FF2B5EF4-FFF2-40B4-BE49-F238E27FC236}">
                    <a16:creationId xmlns:a16="http://schemas.microsoft.com/office/drawing/2014/main" id="{70B9CC3F-B037-1B44-6CF4-70EA6BAC4A5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Textfeld 40">
                <a:extLst>
                  <a:ext uri="{FF2B5EF4-FFF2-40B4-BE49-F238E27FC236}">
                    <a16:creationId xmlns:a16="http://schemas.microsoft.com/office/drawing/2014/main" id="{512302C7-2C3F-643C-F662-5B2A77FFE925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0.00</a:t>
                </a:r>
              </a:p>
            </p:txBody>
          </p:sp>
        </p:grpSp>
        <p:grpSp>
          <p:nvGrpSpPr>
            <p:cNvPr id="30" name="Gruppieren 29">
              <a:extLst>
                <a:ext uri="{FF2B5EF4-FFF2-40B4-BE49-F238E27FC236}">
                  <a16:creationId xmlns:a16="http://schemas.microsoft.com/office/drawing/2014/main" id="{AD5231F2-210A-DDD2-622E-85CEA228A426}"/>
                </a:ext>
              </a:extLst>
            </p:cNvPr>
            <p:cNvGrpSpPr/>
            <p:nvPr/>
          </p:nvGrpSpPr>
          <p:grpSpPr>
            <a:xfrm>
              <a:off x="-502267" y="835851"/>
              <a:ext cx="411956" cy="216662"/>
              <a:chOff x="-615197" y="4295013"/>
              <a:chExt cx="411956" cy="216662"/>
            </a:xfrm>
          </p:grpSpPr>
          <p:cxnSp>
            <p:nvCxnSpPr>
              <p:cNvPr id="37" name="Gerader Verbinder 36">
                <a:extLst>
                  <a:ext uri="{FF2B5EF4-FFF2-40B4-BE49-F238E27FC236}">
                    <a16:creationId xmlns:a16="http://schemas.microsoft.com/office/drawing/2014/main" id="{57A3BE99-48E5-7133-16CB-5D176817302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9" name="Textfeld 38">
                <a:extLst>
                  <a:ext uri="{FF2B5EF4-FFF2-40B4-BE49-F238E27FC236}">
                    <a16:creationId xmlns:a16="http://schemas.microsoft.com/office/drawing/2014/main" id="{DC526744-0CF4-1633-BB1C-166F71D226A0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6.60</a:t>
                </a:r>
              </a:p>
            </p:txBody>
          </p:sp>
        </p:grpSp>
        <p:grpSp>
          <p:nvGrpSpPr>
            <p:cNvPr id="31" name="Gruppieren 30">
              <a:extLst>
                <a:ext uri="{FF2B5EF4-FFF2-40B4-BE49-F238E27FC236}">
                  <a16:creationId xmlns:a16="http://schemas.microsoft.com/office/drawing/2014/main" id="{92E4F805-D80F-F1A8-6858-A7DC6A62BB32}"/>
                </a:ext>
              </a:extLst>
            </p:cNvPr>
            <p:cNvGrpSpPr/>
            <p:nvPr/>
          </p:nvGrpSpPr>
          <p:grpSpPr>
            <a:xfrm>
              <a:off x="-502267" y="1412113"/>
              <a:ext cx="411956" cy="216662"/>
              <a:chOff x="-615197" y="4295013"/>
              <a:chExt cx="411956" cy="216662"/>
            </a:xfrm>
          </p:grpSpPr>
          <p:cxnSp>
            <p:nvCxnSpPr>
              <p:cNvPr id="35" name="Gerader Verbinder 34">
                <a:extLst>
                  <a:ext uri="{FF2B5EF4-FFF2-40B4-BE49-F238E27FC236}">
                    <a16:creationId xmlns:a16="http://schemas.microsoft.com/office/drawing/2014/main" id="{83972B1A-4F1D-023B-AFBA-994915760C3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6" name="Textfeld 35">
                <a:extLst>
                  <a:ext uri="{FF2B5EF4-FFF2-40B4-BE49-F238E27FC236}">
                    <a16:creationId xmlns:a16="http://schemas.microsoft.com/office/drawing/2014/main" id="{E52C728B-1BE8-A994-F412-A74E520B81D4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5.00</a:t>
                </a:r>
              </a:p>
            </p:txBody>
          </p:sp>
        </p:grp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98C1CBEF-D17D-B635-1D25-699BAF780D14}"/>
                </a:ext>
              </a:extLst>
            </p:cNvPr>
            <p:cNvGrpSpPr/>
            <p:nvPr/>
          </p:nvGrpSpPr>
          <p:grpSpPr>
            <a:xfrm>
              <a:off x="-502267" y="80201"/>
              <a:ext cx="411956" cy="216662"/>
              <a:chOff x="-615197" y="4258501"/>
              <a:chExt cx="411956" cy="216662"/>
            </a:xfrm>
          </p:grpSpPr>
          <p:cxnSp>
            <p:nvCxnSpPr>
              <p:cNvPr id="33" name="Gerader Verbinder 32">
                <a:extLst>
                  <a:ext uri="{FF2B5EF4-FFF2-40B4-BE49-F238E27FC236}">
                    <a16:creationId xmlns:a16="http://schemas.microsoft.com/office/drawing/2014/main" id="{7FD22A44-B824-B1E1-6E56-41325BC524A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75163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4" name="Textfeld 33">
                <a:extLst>
                  <a:ext uri="{FF2B5EF4-FFF2-40B4-BE49-F238E27FC236}">
                    <a16:creationId xmlns:a16="http://schemas.microsoft.com/office/drawing/2014/main" id="{1AEE6291-F100-12BF-8026-941E6A44B52B}"/>
                  </a:ext>
                </a:extLst>
              </p:cNvPr>
              <p:cNvSpPr txBox="1"/>
              <p:nvPr/>
            </p:nvSpPr>
            <p:spPr>
              <a:xfrm>
                <a:off x="-615197" y="4258501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8.70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03051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9" y="299633"/>
            <a:ext cx="9740106" cy="369332"/>
          </a:xfrm>
        </p:spPr>
        <p:txBody>
          <a:bodyPr/>
          <a:lstStyle/>
          <a:p>
            <a:r>
              <a:rPr lang="en-US" noProof="0"/>
              <a:t>Edit Master Cover Forma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CDF64D8-43C9-4659-8FEB-D25E62DE2319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ZEISS Frutiger Next W1G" panose="020B0503040204020203" pitchFamily="34" charset="0"/>
              </a:defRPr>
            </a:lvl1pPr>
          </a:lstStyle>
          <a:p>
            <a:pPr lvl="0"/>
            <a:r>
              <a:rPr lang="en-US" noProof="0" dirty="0"/>
              <a:t>Edit master text format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21D1B0B-1BA8-4136-AF7B-59A487C42E1D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518319" y="1631837"/>
            <a:ext cx="11160000" cy="4464000"/>
          </a:xfrm>
        </p:spPr>
        <p:txBody>
          <a:bodyPr rIns="540000"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259A91B9-C866-4D14-BE8D-ECE3629E055C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5F34CB99-436C-44DD-A00F-4552AD08113A}" type="datetime3">
              <a:rPr lang="en-US" noProof="0" smtClean="0"/>
              <a:t>4 June 2025</a:t>
            </a:fld>
            <a:endParaRPr lang="en-US" noProof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99BCA08E-EC06-4059-B57E-AEBF48C0753B}"/>
              </a:ext>
            </a:extLst>
          </p:cNvPr>
          <p:cNvSpPr>
            <a:spLocks noGrp="1"/>
          </p:cNvSpPr>
          <p:nvPr>
            <p:ph type="ftr" sz="quarter" idx="65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AE2FBEAC-E12A-4FD2-82BC-22D265835091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125314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Slides |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9" y="299633"/>
            <a:ext cx="9740106" cy="369332"/>
          </a:xfrm>
        </p:spPr>
        <p:txBody>
          <a:bodyPr/>
          <a:lstStyle/>
          <a:p>
            <a:r>
              <a:rPr lang="en-US" noProof="0"/>
              <a:t>Edit Master Cover Format</a:t>
            </a:r>
          </a:p>
        </p:txBody>
      </p:sp>
      <p:sp>
        <p:nvSpPr>
          <p:cNvPr id="10" name="Textplatzhalter 8">
            <a:extLst>
              <a:ext uri="{FF2B5EF4-FFF2-40B4-BE49-F238E27FC236}">
                <a16:creationId xmlns:a16="http://schemas.microsoft.com/office/drawing/2014/main" id="{162F79FD-685F-4AD0-AD07-F82DCA600046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ZEISS Frutiger Next W1G" panose="020B0503040204020203" pitchFamily="34" charset="0"/>
              </a:defRPr>
            </a:lvl1pPr>
          </a:lstStyle>
          <a:p>
            <a:pPr lvl="0"/>
            <a:r>
              <a:rPr lang="en-US" noProof="0" dirty="0"/>
              <a:t>Edit master text format</a:t>
            </a:r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12A02888-F9A5-43B4-9619-58072584F513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18319" y="1631837"/>
            <a:ext cx="5433219" cy="4464000"/>
          </a:xfrm>
        </p:spPr>
        <p:txBody>
          <a:bodyPr rIns="540000"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D03185D6-5C86-4FFC-9297-944DDAF3BE36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6242844" y="1631837"/>
            <a:ext cx="5433219" cy="4464000"/>
          </a:xfrm>
        </p:spPr>
        <p:txBody>
          <a:bodyPr rIns="540000"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EE6EBE84-2FE1-4C8A-9B0A-2A02FC98AA96}"/>
              </a:ext>
            </a:extLst>
          </p:cNvPr>
          <p:cNvSpPr>
            <a:spLocks noGrp="1"/>
          </p:cNvSpPr>
          <p:nvPr>
            <p:ph type="dt" sz="half" idx="66"/>
          </p:nvPr>
        </p:nvSpPr>
        <p:spPr/>
        <p:txBody>
          <a:bodyPr/>
          <a:lstStyle/>
          <a:p>
            <a:fld id="{5F34CB99-436C-44DD-A00F-4552AD08113A}" type="datetime3">
              <a:rPr lang="en-US" noProof="0" smtClean="0"/>
              <a:t>4 June 2025</a:t>
            </a:fld>
            <a:endParaRPr lang="en-US" noProof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24FDAE19-A17E-45B7-B64A-89511644E918}"/>
              </a:ext>
            </a:extLst>
          </p:cNvPr>
          <p:cNvSpPr>
            <a:spLocks noGrp="1"/>
          </p:cNvSpPr>
          <p:nvPr>
            <p:ph type="ftr" sz="quarter" idx="67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6ABDFF1-A98D-4590-8B67-160900C002CB}"/>
              </a:ext>
            </a:extLst>
          </p:cNvPr>
          <p:cNvSpPr>
            <a:spLocks noGrp="1"/>
          </p:cNvSpPr>
          <p:nvPr>
            <p:ph type="sldNum" sz="quarter" idx="68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49742346"/>
      </p:ext>
    </p:extLst>
  </p:cSld>
  <p:clrMapOvr>
    <a:masterClrMapping/>
  </p:clrMapOvr>
  <p:hf sldNum="0" hdr="0" ft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think-cell data - do not delete" hidden="1">
            <a:extLst>
              <a:ext uri="{FF2B5EF4-FFF2-40B4-BE49-F238E27FC236}">
                <a16:creationId xmlns:a16="http://schemas.microsoft.com/office/drawing/2014/main" id="{5B2E51B4-2676-FA61-39DF-29B5BB5191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474591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7" imgW="532" imgH="533" progId="TCLayout.ActiveDocument.1">
                  <p:embed/>
                </p:oleObj>
              </mc:Choice>
              <mc:Fallback>
                <p:oleObj name="think-cell Folie" r:id="rId27" imgW="532" imgH="5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B5DF379B-2F7B-4B88-BC16-FA39CEB2C3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9" y="299633"/>
            <a:ext cx="974010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 dirty="0"/>
              <a:t>Edit Master Cover Forma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BFF28EB-5BBB-48FC-BE84-2AF18E9A25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319" y="1631155"/>
            <a:ext cx="11160000" cy="446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dirty="0"/>
              <a:t>Edit master text forma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9AF8200-DF6F-4A4E-B92D-A281BB9406D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41682" y="6687622"/>
            <a:ext cx="777457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  <a:cs typeface="ZEISS Frutiger Next W1G" panose="020B0503040204020203" pitchFamily="34" charset="0"/>
              </a:defRPr>
            </a:lvl1pPr>
          </a:lstStyle>
          <a:p>
            <a:fld id="{5F34CB99-436C-44DD-A00F-4552AD08113A}" type="datetime3">
              <a:rPr lang="en-US" smtClean="0"/>
              <a:pPr/>
              <a:t>4 June 2025</a:t>
            </a:fld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62C304D-CE9F-43FC-BAA7-AE9B393990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8319" y="6687622"/>
            <a:ext cx="3892348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 b="0">
                <a:solidFill>
                  <a:schemeClr val="tx1"/>
                </a:solidFill>
                <a:latin typeface="+mn-lt"/>
                <a:cs typeface="ZEISS Frutiger Next W1G Medium"/>
              </a:defRPr>
            </a:lvl1pPr>
          </a:lstStyle>
          <a:p>
            <a:endParaRPr lang="en-US" noProof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2475B2-8926-4797-977A-DAFF5A6E3C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1717" y="6687622"/>
            <a:ext cx="184346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ZEISS Frutiger Next W1G" panose="020B0503040204020203" pitchFamily="34" charset="0"/>
              </a:defRPr>
            </a:lvl1pPr>
          </a:lstStyle>
          <a:p>
            <a:fld id="{C6A4AD45-2621-4550-9DC5-4911F1B5FA4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55" name="Gerade Verbindung 68">
            <a:extLst>
              <a:ext uri="{FF2B5EF4-FFF2-40B4-BE49-F238E27FC236}">
                <a16:creationId xmlns:a16="http://schemas.microsoft.com/office/drawing/2014/main" id="{4DEBE7C2-DE8D-4DCC-AFDE-C6BA57C891B0}"/>
              </a:ext>
            </a:extLst>
          </p:cNvPr>
          <p:cNvCxnSpPr>
            <a:cxnSpLocks/>
          </p:cNvCxnSpPr>
          <p:nvPr/>
        </p:nvCxnSpPr>
        <p:spPr>
          <a:xfrm>
            <a:off x="0" y="6641854"/>
            <a:ext cx="12192000" cy="0"/>
          </a:xfrm>
          <a:prstGeom prst="line">
            <a:avLst/>
          </a:prstGeom>
          <a:ln w="6350">
            <a:solidFill>
              <a:srgbClr val="DCE3E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56C48ABB-BA50-4097-908E-FFB7EAD39F4B}"/>
              </a:ext>
            </a:extLst>
          </p:cNvPr>
          <p:cNvGrpSpPr/>
          <p:nvPr/>
        </p:nvGrpSpPr>
        <p:grpSpPr>
          <a:xfrm>
            <a:off x="304116" y="-697714"/>
            <a:ext cx="11370764" cy="411957"/>
            <a:chOff x="304116" y="6944502"/>
            <a:chExt cx="11370764" cy="411957"/>
          </a:xfrm>
        </p:grpSpPr>
        <p:grpSp>
          <p:nvGrpSpPr>
            <p:cNvPr id="44" name="Gruppieren 43">
              <a:extLst>
                <a:ext uri="{FF2B5EF4-FFF2-40B4-BE49-F238E27FC236}">
                  <a16:creationId xmlns:a16="http://schemas.microsoft.com/office/drawing/2014/main" id="{EFF5078C-FBC7-4E8E-A598-D1BB0815DC62}"/>
                </a:ext>
              </a:extLst>
            </p:cNvPr>
            <p:cNvGrpSpPr/>
            <p:nvPr/>
          </p:nvGrpSpPr>
          <p:grpSpPr>
            <a:xfrm rot="16200000">
              <a:off x="204049" y="7044570"/>
              <a:ext cx="411956" cy="211821"/>
              <a:chOff x="-615197" y="4299854"/>
              <a:chExt cx="411956" cy="211821"/>
            </a:xfrm>
          </p:grpSpPr>
          <p:cxnSp>
            <p:nvCxnSpPr>
              <p:cNvPr id="59" name="Gerader Verbinder 58">
                <a:extLst>
                  <a:ext uri="{FF2B5EF4-FFF2-40B4-BE49-F238E27FC236}">
                    <a16:creationId xmlns:a16="http://schemas.microsoft.com/office/drawing/2014/main" id="{98C79FAB-AF18-4382-B91F-09656AE8939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0" name="Textfeld 59">
                <a:extLst>
                  <a:ext uri="{FF2B5EF4-FFF2-40B4-BE49-F238E27FC236}">
                    <a16:creationId xmlns:a16="http://schemas.microsoft.com/office/drawing/2014/main" id="{70142E60-8658-4FEF-9907-69CF841786A3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15.50</a:t>
                </a:r>
              </a:p>
            </p:txBody>
          </p:sp>
        </p:grpSp>
        <p:grpSp>
          <p:nvGrpSpPr>
            <p:cNvPr id="45" name="Gruppieren 44">
              <a:extLst>
                <a:ext uri="{FF2B5EF4-FFF2-40B4-BE49-F238E27FC236}">
                  <a16:creationId xmlns:a16="http://schemas.microsoft.com/office/drawing/2014/main" id="{D7869B50-48E3-401F-B78F-FD1148A050CE}"/>
                </a:ext>
              </a:extLst>
            </p:cNvPr>
            <p:cNvGrpSpPr/>
            <p:nvPr/>
          </p:nvGrpSpPr>
          <p:grpSpPr>
            <a:xfrm rot="16200000">
              <a:off x="5639649" y="7044570"/>
              <a:ext cx="411956" cy="211821"/>
              <a:chOff x="-615197" y="4299854"/>
              <a:chExt cx="411956" cy="211821"/>
            </a:xfrm>
          </p:grpSpPr>
          <p:cxnSp>
            <p:nvCxnSpPr>
              <p:cNvPr id="56" name="Gerader Verbinder 55">
                <a:extLst>
                  <a:ext uri="{FF2B5EF4-FFF2-40B4-BE49-F238E27FC236}">
                    <a16:creationId xmlns:a16="http://schemas.microsoft.com/office/drawing/2014/main" id="{FB1EF0FA-D34A-4175-B65D-B7D6CC9719C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8" name="Textfeld 57">
                <a:extLst>
                  <a:ext uri="{FF2B5EF4-FFF2-40B4-BE49-F238E27FC236}">
                    <a16:creationId xmlns:a16="http://schemas.microsoft.com/office/drawing/2014/main" id="{2F56FBC7-9F7F-4AB4-8693-7CC09BA3D280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0.40</a:t>
                </a:r>
              </a:p>
            </p:txBody>
          </p:sp>
        </p:grpSp>
        <p:grpSp>
          <p:nvGrpSpPr>
            <p:cNvPr id="48" name="Gruppieren 47">
              <a:extLst>
                <a:ext uri="{FF2B5EF4-FFF2-40B4-BE49-F238E27FC236}">
                  <a16:creationId xmlns:a16="http://schemas.microsoft.com/office/drawing/2014/main" id="{19703CF7-5E39-4192-B4A3-B38559E0FCBB}"/>
                </a:ext>
              </a:extLst>
            </p:cNvPr>
            <p:cNvGrpSpPr/>
            <p:nvPr/>
          </p:nvGrpSpPr>
          <p:grpSpPr>
            <a:xfrm rot="5400000">
              <a:off x="6093326" y="7046990"/>
              <a:ext cx="411956" cy="206980"/>
              <a:chOff x="-615197" y="4350961"/>
              <a:chExt cx="411956" cy="206980"/>
            </a:xfrm>
          </p:grpSpPr>
          <p:cxnSp>
            <p:nvCxnSpPr>
              <p:cNvPr id="53" name="Gerader Verbinder 52">
                <a:extLst>
                  <a:ext uri="{FF2B5EF4-FFF2-40B4-BE49-F238E27FC236}">
                    <a16:creationId xmlns:a16="http://schemas.microsoft.com/office/drawing/2014/main" id="{A8A4A3CB-D5F7-4A19-B224-2A426F6AA12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4" name="Textfeld 53">
                <a:extLst>
                  <a:ext uri="{FF2B5EF4-FFF2-40B4-BE49-F238E27FC236}">
                    <a16:creationId xmlns:a16="http://schemas.microsoft.com/office/drawing/2014/main" id="{6CC430D5-BB00-4533-B856-9B221C831F80}"/>
                  </a:ext>
                </a:extLst>
              </p:cNvPr>
              <p:cNvSpPr txBox="1"/>
              <p:nvPr/>
            </p:nvSpPr>
            <p:spPr>
              <a:xfrm rot="10800000">
                <a:off x="-615197" y="4350961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0.40</a:t>
                </a:r>
              </a:p>
            </p:txBody>
          </p:sp>
        </p:grpSp>
        <p:cxnSp>
          <p:nvCxnSpPr>
            <p:cNvPr id="49" name="Gerader Verbinder 48">
              <a:extLst>
                <a:ext uri="{FF2B5EF4-FFF2-40B4-BE49-F238E27FC236}">
                  <a16:creationId xmlns:a16="http://schemas.microsoft.com/office/drawing/2014/main" id="{6B3ED1DB-EA3B-481C-AE7B-B4C922752B6B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5890022" y="7150480"/>
              <a:ext cx="411956" cy="0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0" name="Gruppieren 49">
              <a:extLst>
                <a:ext uri="{FF2B5EF4-FFF2-40B4-BE49-F238E27FC236}">
                  <a16:creationId xmlns:a16="http://schemas.microsoft.com/office/drawing/2014/main" id="{1110E2D8-35E2-4911-90BB-0A1E1F09A868}"/>
                </a:ext>
              </a:extLst>
            </p:cNvPr>
            <p:cNvGrpSpPr/>
            <p:nvPr/>
          </p:nvGrpSpPr>
          <p:grpSpPr>
            <a:xfrm rot="16200000">
              <a:off x="11362992" y="7044570"/>
              <a:ext cx="411956" cy="211821"/>
              <a:chOff x="-615197" y="4299854"/>
              <a:chExt cx="411956" cy="211821"/>
            </a:xfrm>
          </p:grpSpPr>
          <p:cxnSp>
            <p:nvCxnSpPr>
              <p:cNvPr id="51" name="Gerader Verbinder 50">
                <a:extLst>
                  <a:ext uri="{FF2B5EF4-FFF2-40B4-BE49-F238E27FC236}">
                    <a16:creationId xmlns:a16="http://schemas.microsoft.com/office/drawing/2014/main" id="{DED3DF7D-712B-495D-89D3-D93B7909A8A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2" name="Textfeld 51">
                <a:extLst>
                  <a:ext uri="{FF2B5EF4-FFF2-40B4-BE49-F238E27FC236}">
                    <a16:creationId xmlns:a16="http://schemas.microsoft.com/office/drawing/2014/main" id="{90B2A73D-A4A8-494D-80B5-C7EF22F4B6E3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15.50</a:t>
                </a:r>
              </a:p>
            </p:txBody>
          </p:sp>
        </p:grpSp>
      </p:grpSp>
      <p:grpSp>
        <p:nvGrpSpPr>
          <p:cNvPr id="61" name="Gruppieren 60">
            <a:extLst>
              <a:ext uri="{FF2B5EF4-FFF2-40B4-BE49-F238E27FC236}">
                <a16:creationId xmlns:a16="http://schemas.microsoft.com/office/drawing/2014/main" id="{45CCA136-3A71-44B3-80EC-6266A492E5C1}"/>
              </a:ext>
            </a:extLst>
          </p:cNvPr>
          <p:cNvGrpSpPr/>
          <p:nvPr/>
        </p:nvGrpSpPr>
        <p:grpSpPr>
          <a:xfrm>
            <a:off x="-697714" y="80201"/>
            <a:ext cx="411956" cy="6720119"/>
            <a:chOff x="-502267" y="80201"/>
            <a:chExt cx="411956" cy="6720119"/>
          </a:xfrm>
        </p:grpSpPr>
        <p:grpSp>
          <p:nvGrpSpPr>
            <p:cNvPr id="62" name="Gruppieren 61">
              <a:extLst>
                <a:ext uri="{FF2B5EF4-FFF2-40B4-BE49-F238E27FC236}">
                  <a16:creationId xmlns:a16="http://schemas.microsoft.com/office/drawing/2014/main" id="{512E8AFB-85D2-45A9-B3EF-D12EC6390E09}"/>
                </a:ext>
              </a:extLst>
            </p:cNvPr>
            <p:cNvGrpSpPr/>
            <p:nvPr/>
          </p:nvGrpSpPr>
          <p:grpSpPr>
            <a:xfrm>
              <a:off x="-502267" y="6593340"/>
              <a:ext cx="411956" cy="206980"/>
              <a:chOff x="-615197" y="4452994"/>
              <a:chExt cx="411956" cy="206980"/>
            </a:xfrm>
          </p:grpSpPr>
          <p:sp>
            <p:nvSpPr>
              <p:cNvPr id="80" name="Textfeld 79">
                <a:extLst>
                  <a:ext uri="{FF2B5EF4-FFF2-40B4-BE49-F238E27FC236}">
                    <a16:creationId xmlns:a16="http://schemas.microsoft.com/office/drawing/2014/main" id="{F8C212DB-196A-4D74-82BE-00609BD65965}"/>
                  </a:ext>
                </a:extLst>
              </p:cNvPr>
              <p:cNvSpPr txBox="1"/>
              <p:nvPr/>
            </p:nvSpPr>
            <p:spPr>
              <a:xfrm>
                <a:off x="-615197" y="445299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8.92</a:t>
                </a:r>
              </a:p>
            </p:txBody>
          </p:sp>
          <p:cxnSp>
            <p:nvCxnSpPr>
              <p:cNvPr id="81" name="Gerader Verbinder 80">
                <a:extLst>
                  <a:ext uri="{FF2B5EF4-FFF2-40B4-BE49-F238E27FC236}">
                    <a16:creationId xmlns:a16="http://schemas.microsoft.com/office/drawing/2014/main" id="{56A7317A-75CD-430C-B602-E93C165B71F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97389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uppieren 62">
              <a:extLst>
                <a:ext uri="{FF2B5EF4-FFF2-40B4-BE49-F238E27FC236}">
                  <a16:creationId xmlns:a16="http://schemas.microsoft.com/office/drawing/2014/main" id="{1EF0A019-963A-4270-931F-DFDE8CEEF2AE}"/>
                </a:ext>
              </a:extLst>
            </p:cNvPr>
            <p:cNvGrpSpPr/>
            <p:nvPr/>
          </p:nvGrpSpPr>
          <p:grpSpPr>
            <a:xfrm>
              <a:off x="-502267" y="5876163"/>
              <a:ext cx="411956" cy="216662"/>
              <a:chOff x="-615197" y="4295013"/>
              <a:chExt cx="411956" cy="216662"/>
            </a:xfrm>
          </p:grpSpPr>
          <p:cxnSp>
            <p:nvCxnSpPr>
              <p:cNvPr id="78" name="Gerader Verbinder 77">
                <a:extLst>
                  <a:ext uri="{FF2B5EF4-FFF2-40B4-BE49-F238E27FC236}">
                    <a16:creationId xmlns:a16="http://schemas.microsoft.com/office/drawing/2014/main" id="{7B734A5E-AEC5-486D-81BA-93B0283538F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9" name="Textfeld 78">
                <a:extLst>
                  <a:ext uri="{FF2B5EF4-FFF2-40B4-BE49-F238E27FC236}">
                    <a16:creationId xmlns:a16="http://schemas.microsoft.com/office/drawing/2014/main" id="{AAA044E2-7B08-4EB5-B56C-B9E2404811F6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7.40</a:t>
                </a:r>
              </a:p>
            </p:txBody>
          </p:sp>
        </p:grpSp>
        <p:grpSp>
          <p:nvGrpSpPr>
            <p:cNvPr id="65" name="Gruppieren 64">
              <a:extLst>
                <a:ext uri="{FF2B5EF4-FFF2-40B4-BE49-F238E27FC236}">
                  <a16:creationId xmlns:a16="http://schemas.microsoft.com/office/drawing/2014/main" id="{5A6DDF7B-3C45-4586-B715-867DB00EAA25}"/>
                </a:ext>
              </a:extLst>
            </p:cNvPr>
            <p:cNvGrpSpPr/>
            <p:nvPr/>
          </p:nvGrpSpPr>
          <p:grpSpPr>
            <a:xfrm>
              <a:off x="-502267" y="3212338"/>
              <a:ext cx="411956" cy="216662"/>
              <a:chOff x="-615197" y="4295013"/>
              <a:chExt cx="411956" cy="216662"/>
            </a:xfrm>
          </p:grpSpPr>
          <p:cxnSp>
            <p:nvCxnSpPr>
              <p:cNvPr id="76" name="Gerader Verbinder 75">
                <a:extLst>
                  <a:ext uri="{FF2B5EF4-FFF2-40B4-BE49-F238E27FC236}">
                    <a16:creationId xmlns:a16="http://schemas.microsoft.com/office/drawing/2014/main" id="{B09F6C2A-72FF-473A-9FC4-2BBCDFFEE8D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7" name="Textfeld 76">
                <a:extLst>
                  <a:ext uri="{FF2B5EF4-FFF2-40B4-BE49-F238E27FC236}">
                    <a16:creationId xmlns:a16="http://schemas.microsoft.com/office/drawing/2014/main" id="{41E70ED3-B280-4B12-98B1-0E624CDA8555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0.00</a:t>
                </a:r>
              </a:p>
            </p:txBody>
          </p:sp>
        </p:grpSp>
        <p:grpSp>
          <p:nvGrpSpPr>
            <p:cNvPr id="67" name="Gruppieren 66">
              <a:extLst>
                <a:ext uri="{FF2B5EF4-FFF2-40B4-BE49-F238E27FC236}">
                  <a16:creationId xmlns:a16="http://schemas.microsoft.com/office/drawing/2014/main" id="{13519177-A9A5-4C28-B905-56690F6370BE}"/>
                </a:ext>
              </a:extLst>
            </p:cNvPr>
            <p:cNvGrpSpPr/>
            <p:nvPr/>
          </p:nvGrpSpPr>
          <p:grpSpPr>
            <a:xfrm>
              <a:off x="-502267" y="835851"/>
              <a:ext cx="411956" cy="216662"/>
              <a:chOff x="-615197" y="4295013"/>
              <a:chExt cx="411956" cy="216662"/>
            </a:xfrm>
          </p:grpSpPr>
          <p:cxnSp>
            <p:nvCxnSpPr>
              <p:cNvPr id="74" name="Gerader Verbinder 73">
                <a:extLst>
                  <a:ext uri="{FF2B5EF4-FFF2-40B4-BE49-F238E27FC236}">
                    <a16:creationId xmlns:a16="http://schemas.microsoft.com/office/drawing/2014/main" id="{814F7099-99D4-4BC1-B424-1D0D371D6CF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5" name="Textfeld 74">
                <a:extLst>
                  <a:ext uri="{FF2B5EF4-FFF2-40B4-BE49-F238E27FC236}">
                    <a16:creationId xmlns:a16="http://schemas.microsoft.com/office/drawing/2014/main" id="{C198A76C-0F63-449D-B3B9-3E5DBC7CC0D0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6.60</a:t>
                </a:r>
              </a:p>
            </p:txBody>
          </p:sp>
        </p:grpSp>
        <p:grpSp>
          <p:nvGrpSpPr>
            <p:cNvPr id="68" name="Gruppieren 67">
              <a:extLst>
                <a:ext uri="{FF2B5EF4-FFF2-40B4-BE49-F238E27FC236}">
                  <a16:creationId xmlns:a16="http://schemas.microsoft.com/office/drawing/2014/main" id="{F01EC9B1-E3C1-4394-9DF2-821DB41FB019}"/>
                </a:ext>
              </a:extLst>
            </p:cNvPr>
            <p:cNvGrpSpPr/>
            <p:nvPr/>
          </p:nvGrpSpPr>
          <p:grpSpPr>
            <a:xfrm>
              <a:off x="-502267" y="1412113"/>
              <a:ext cx="411956" cy="216662"/>
              <a:chOff x="-615197" y="4295013"/>
              <a:chExt cx="411956" cy="216662"/>
            </a:xfrm>
          </p:grpSpPr>
          <p:cxnSp>
            <p:nvCxnSpPr>
              <p:cNvPr id="72" name="Gerader Verbinder 71">
                <a:extLst>
                  <a:ext uri="{FF2B5EF4-FFF2-40B4-BE49-F238E27FC236}">
                    <a16:creationId xmlns:a16="http://schemas.microsoft.com/office/drawing/2014/main" id="{DD8A3ACB-B94A-419D-92FB-05941A6F93D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3" name="Textfeld 72">
                <a:extLst>
                  <a:ext uri="{FF2B5EF4-FFF2-40B4-BE49-F238E27FC236}">
                    <a16:creationId xmlns:a16="http://schemas.microsoft.com/office/drawing/2014/main" id="{48E6EB08-7072-482E-8A57-E289E1E941F2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5.00</a:t>
                </a:r>
              </a:p>
            </p:txBody>
          </p:sp>
        </p:grpSp>
        <p:grpSp>
          <p:nvGrpSpPr>
            <p:cNvPr id="69" name="Gruppieren 68">
              <a:extLst>
                <a:ext uri="{FF2B5EF4-FFF2-40B4-BE49-F238E27FC236}">
                  <a16:creationId xmlns:a16="http://schemas.microsoft.com/office/drawing/2014/main" id="{1319C301-946F-4672-BC0B-92B5F76B85BD}"/>
                </a:ext>
              </a:extLst>
            </p:cNvPr>
            <p:cNvGrpSpPr/>
            <p:nvPr/>
          </p:nvGrpSpPr>
          <p:grpSpPr>
            <a:xfrm>
              <a:off x="-502267" y="80201"/>
              <a:ext cx="411956" cy="216662"/>
              <a:chOff x="-615197" y="4258501"/>
              <a:chExt cx="411956" cy="216662"/>
            </a:xfrm>
          </p:grpSpPr>
          <p:cxnSp>
            <p:nvCxnSpPr>
              <p:cNvPr id="70" name="Gerader Verbinder 69">
                <a:extLst>
                  <a:ext uri="{FF2B5EF4-FFF2-40B4-BE49-F238E27FC236}">
                    <a16:creationId xmlns:a16="http://schemas.microsoft.com/office/drawing/2014/main" id="{64B9A576-386D-473E-A71E-7373935B2A1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75163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1" name="Textfeld 70">
                <a:extLst>
                  <a:ext uri="{FF2B5EF4-FFF2-40B4-BE49-F238E27FC236}">
                    <a16:creationId xmlns:a16="http://schemas.microsoft.com/office/drawing/2014/main" id="{9A7A7A9C-6B40-4302-901E-CC3F25A6D990}"/>
                  </a:ext>
                </a:extLst>
              </p:cNvPr>
              <p:cNvSpPr txBox="1"/>
              <p:nvPr/>
            </p:nvSpPr>
            <p:spPr>
              <a:xfrm>
                <a:off x="-615197" y="4258501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8.70</a:t>
                </a:r>
              </a:p>
            </p:txBody>
          </p:sp>
        </p:grpSp>
      </p:grpSp>
      <p:cxnSp>
        <p:nvCxnSpPr>
          <p:cNvPr id="8" name="Gerade Verbindung 71">
            <a:extLst>
              <a:ext uri="{FF2B5EF4-FFF2-40B4-BE49-F238E27FC236}">
                <a16:creationId xmlns:a16="http://schemas.microsoft.com/office/drawing/2014/main" id="{4C4D4FE4-55CA-A7C1-E0D2-36B7ED5D5851}"/>
              </a:ext>
            </a:extLst>
          </p:cNvPr>
          <p:cNvCxnSpPr>
            <a:cxnSpLocks/>
          </p:cNvCxnSpPr>
          <p:nvPr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CE3E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1CB88874-613B-C1D1-F2C5-4CCF4F2B6D1C}"/>
              </a:ext>
            </a:extLst>
          </p:cNvPr>
          <p:cNvGrpSpPr/>
          <p:nvPr/>
        </p:nvGrpSpPr>
        <p:grpSpPr>
          <a:xfrm>
            <a:off x="11170442" y="299244"/>
            <a:ext cx="505400" cy="505400"/>
            <a:chOff x="5423248" y="2756248"/>
            <a:chExt cx="1349978" cy="1349978"/>
          </a:xfrm>
        </p:grpSpPr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85D04796-BC9E-B6CB-DDCB-559C64652ED2}"/>
                </a:ext>
              </a:extLst>
            </p:cNvPr>
            <p:cNvSpPr/>
            <p:nvPr/>
          </p:nvSpPr>
          <p:spPr>
            <a:xfrm>
              <a:off x="5423248" y="2756248"/>
              <a:ext cx="1349978" cy="1349978"/>
            </a:xfrm>
            <a:custGeom>
              <a:avLst/>
              <a:gdLst>
                <a:gd name="connsiteX0" fmla="*/ 1349788 w 1349978"/>
                <a:gd name="connsiteY0" fmla="*/ 1349978 h 1349978"/>
                <a:gd name="connsiteX1" fmla="*/ 675037 w 1349978"/>
                <a:gd name="connsiteY1" fmla="*/ 1205389 h 1349978"/>
                <a:gd name="connsiteX2" fmla="*/ 0 w 1349978"/>
                <a:gd name="connsiteY2" fmla="*/ 1349978 h 1349978"/>
                <a:gd name="connsiteX3" fmla="*/ 0 w 1349978"/>
                <a:gd name="connsiteY3" fmla="*/ 0 h 1349978"/>
                <a:gd name="connsiteX4" fmla="*/ 1349978 w 1349978"/>
                <a:gd name="connsiteY4" fmla="*/ 0 h 1349978"/>
                <a:gd name="connsiteX5" fmla="*/ 1349788 w 1349978"/>
                <a:gd name="connsiteY5" fmla="*/ 1349978 h 1349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49978" h="1349978">
                  <a:moveTo>
                    <a:pt x="1349788" y="1349978"/>
                  </a:moveTo>
                  <a:cubicBezTo>
                    <a:pt x="1143953" y="1257110"/>
                    <a:pt x="915543" y="1205389"/>
                    <a:pt x="675037" y="1205389"/>
                  </a:cubicBezTo>
                  <a:cubicBezTo>
                    <a:pt x="434530" y="1205389"/>
                    <a:pt x="205835" y="1257110"/>
                    <a:pt x="0" y="1349978"/>
                  </a:cubicBezTo>
                  <a:lnTo>
                    <a:pt x="0" y="0"/>
                  </a:lnTo>
                  <a:lnTo>
                    <a:pt x="1349978" y="0"/>
                  </a:lnTo>
                  <a:lnTo>
                    <a:pt x="1349788" y="1349978"/>
                  </a:lnTo>
                  <a:close/>
                </a:path>
              </a:pathLst>
            </a:custGeom>
            <a:solidFill>
              <a:srgbClr val="0F2D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11" name="Grafik 31">
              <a:extLst>
                <a:ext uri="{FF2B5EF4-FFF2-40B4-BE49-F238E27FC236}">
                  <a16:creationId xmlns:a16="http://schemas.microsoft.com/office/drawing/2014/main" id="{AA0E89A0-0A50-90E4-0BED-B7FD02AD5284}"/>
                </a:ext>
              </a:extLst>
            </p:cNvPr>
            <p:cNvGrpSpPr/>
            <p:nvPr/>
          </p:nvGrpSpPr>
          <p:grpSpPr>
            <a:xfrm>
              <a:off x="5474985" y="3134295"/>
              <a:ext cx="1244293" cy="294132"/>
              <a:chOff x="5474985" y="3134295"/>
              <a:chExt cx="1244293" cy="294132"/>
            </a:xfrm>
            <a:solidFill>
              <a:srgbClr val="FFFFFF"/>
            </a:solidFill>
          </p:grpSpPr>
          <p:sp>
            <p:nvSpPr>
              <p:cNvPr id="12" name="Freihandform: Form 11">
                <a:extLst>
                  <a:ext uri="{FF2B5EF4-FFF2-40B4-BE49-F238E27FC236}">
                    <a16:creationId xmlns:a16="http://schemas.microsoft.com/office/drawing/2014/main" id="{4C67D322-ACC5-D860-A2E9-F371646D6DAA}"/>
                  </a:ext>
                </a:extLst>
              </p:cNvPr>
              <p:cNvSpPr/>
              <p:nvPr/>
            </p:nvSpPr>
            <p:spPr>
              <a:xfrm>
                <a:off x="5474985" y="3134295"/>
                <a:ext cx="247353" cy="293941"/>
              </a:xfrm>
              <a:custGeom>
                <a:avLst/>
                <a:gdLst>
                  <a:gd name="connsiteX0" fmla="*/ 109998 w 247353"/>
                  <a:gd name="connsiteY0" fmla="*/ 30956 h 293941"/>
                  <a:gd name="connsiteX1" fmla="*/ 41418 w 247353"/>
                  <a:gd name="connsiteY1" fmla="*/ 95250 h 293941"/>
                  <a:gd name="connsiteX2" fmla="*/ 11129 w 247353"/>
                  <a:gd name="connsiteY2" fmla="*/ 95250 h 293941"/>
                  <a:gd name="connsiteX3" fmla="*/ 11129 w 247353"/>
                  <a:gd name="connsiteY3" fmla="*/ 0 h 293941"/>
                  <a:gd name="connsiteX4" fmla="*/ 247349 w 247353"/>
                  <a:gd name="connsiteY4" fmla="*/ 0 h 293941"/>
                  <a:gd name="connsiteX5" fmla="*/ 179340 w 247353"/>
                  <a:gd name="connsiteY5" fmla="*/ 151733 h 293941"/>
                  <a:gd name="connsiteX6" fmla="*/ 111141 w 247353"/>
                  <a:gd name="connsiteY6" fmla="*/ 262795 h 293941"/>
                  <a:gd name="connsiteX7" fmla="*/ 149432 w 247353"/>
                  <a:gd name="connsiteY7" fmla="*/ 262795 h 293941"/>
                  <a:gd name="connsiteX8" fmla="*/ 210011 w 247353"/>
                  <a:gd name="connsiteY8" fmla="*/ 198501 h 293941"/>
                  <a:gd name="connsiteX9" fmla="*/ 241634 w 247353"/>
                  <a:gd name="connsiteY9" fmla="*/ 198501 h 293941"/>
                  <a:gd name="connsiteX10" fmla="*/ 241634 w 247353"/>
                  <a:gd name="connsiteY10" fmla="*/ 293942 h 293941"/>
                  <a:gd name="connsiteX11" fmla="*/ 270 w 247353"/>
                  <a:gd name="connsiteY11" fmla="*/ 293942 h 293941"/>
                  <a:gd name="connsiteX12" fmla="*/ 75137 w 247353"/>
                  <a:gd name="connsiteY12" fmla="*/ 133731 h 293941"/>
                  <a:gd name="connsiteX13" fmla="*/ 138573 w 247353"/>
                  <a:gd name="connsiteY13" fmla="*/ 30671 h 293941"/>
                  <a:gd name="connsiteX14" fmla="*/ 109998 w 247353"/>
                  <a:gd name="connsiteY14" fmla="*/ 30861 h 2939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47353" h="293941">
                    <a:moveTo>
                      <a:pt x="109998" y="30956"/>
                    </a:moveTo>
                    <a:cubicBezTo>
                      <a:pt x="46562" y="30956"/>
                      <a:pt x="41418" y="95250"/>
                      <a:pt x="41418" y="95250"/>
                    </a:cubicBezTo>
                    <a:lnTo>
                      <a:pt x="11129" y="95250"/>
                    </a:lnTo>
                    <a:lnTo>
                      <a:pt x="11129" y="0"/>
                    </a:lnTo>
                    <a:lnTo>
                      <a:pt x="247349" y="0"/>
                    </a:lnTo>
                    <a:cubicBezTo>
                      <a:pt x="247349" y="0"/>
                      <a:pt x="249254" y="73628"/>
                      <a:pt x="179340" y="151733"/>
                    </a:cubicBezTo>
                    <a:cubicBezTo>
                      <a:pt x="179340" y="151733"/>
                      <a:pt x="112856" y="228981"/>
                      <a:pt x="111141" y="262795"/>
                    </a:cubicBezTo>
                    <a:lnTo>
                      <a:pt x="149432" y="262795"/>
                    </a:lnTo>
                    <a:cubicBezTo>
                      <a:pt x="204391" y="262795"/>
                      <a:pt x="210011" y="198501"/>
                      <a:pt x="210011" y="198501"/>
                    </a:cubicBezTo>
                    <a:lnTo>
                      <a:pt x="241634" y="198501"/>
                    </a:lnTo>
                    <a:lnTo>
                      <a:pt x="241634" y="293942"/>
                    </a:lnTo>
                    <a:lnTo>
                      <a:pt x="270" y="293942"/>
                    </a:lnTo>
                    <a:cubicBezTo>
                      <a:pt x="270" y="293942"/>
                      <a:pt x="-8588" y="221647"/>
                      <a:pt x="75137" y="133731"/>
                    </a:cubicBezTo>
                    <a:cubicBezTo>
                      <a:pt x="75137" y="133731"/>
                      <a:pt x="126667" y="76200"/>
                      <a:pt x="138573" y="30671"/>
                    </a:cubicBezTo>
                    <a:lnTo>
                      <a:pt x="109998" y="30861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" name="Freihandform: Form 12">
                <a:extLst>
                  <a:ext uri="{FF2B5EF4-FFF2-40B4-BE49-F238E27FC236}">
                    <a16:creationId xmlns:a16="http://schemas.microsoft.com/office/drawing/2014/main" id="{E923A147-21D9-C1BD-81D3-AD5D755F07E8}"/>
                  </a:ext>
                </a:extLst>
              </p:cNvPr>
              <p:cNvSpPr/>
              <p:nvPr/>
            </p:nvSpPr>
            <p:spPr>
              <a:xfrm>
                <a:off x="6030181" y="3134295"/>
                <a:ext cx="156495" cy="293750"/>
              </a:xfrm>
              <a:custGeom>
                <a:avLst/>
                <a:gdLst>
                  <a:gd name="connsiteX0" fmla="*/ 156496 w 156495"/>
                  <a:gd name="connsiteY0" fmla="*/ 293751 h 293750"/>
                  <a:gd name="connsiteX1" fmla="*/ 156496 w 156495"/>
                  <a:gd name="connsiteY1" fmla="*/ 262604 h 293750"/>
                  <a:gd name="connsiteX2" fmla="*/ 149352 w 156495"/>
                  <a:gd name="connsiteY2" fmla="*/ 262604 h 293750"/>
                  <a:gd name="connsiteX3" fmla="*/ 125730 w 156495"/>
                  <a:gd name="connsiteY3" fmla="*/ 238982 h 293750"/>
                  <a:gd name="connsiteX4" fmla="*/ 125730 w 156495"/>
                  <a:gd name="connsiteY4" fmla="*/ 54769 h 293750"/>
                  <a:gd name="connsiteX5" fmla="*/ 149352 w 156495"/>
                  <a:gd name="connsiteY5" fmla="*/ 31147 h 293750"/>
                  <a:gd name="connsiteX6" fmla="*/ 156496 w 156495"/>
                  <a:gd name="connsiteY6" fmla="*/ 31147 h 293750"/>
                  <a:gd name="connsiteX7" fmla="*/ 156496 w 156495"/>
                  <a:gd name="connsiteY7" fmla="*/ 0 h 293750"/>
                  <a:gd name="connsiteX8" fmla="*/ 0 w 156495"/>
                  <a:gd name="connsiteY8" fmla="*/ 0 h 293750"/>
                  <a:gd name="connsiteX9" fmla="*/ 0 w 156495"/>
                  <a:gd name="connsiteY9" fmla="*/ 31147 h 293750"/>
                  <a:gd name="connsiteX10" fmla="*/ 7144 w 156495"/>
                  <a:gd name="connsiteY10" fmla="*/ 31147 h 293750"/>
                  <a:gd name="connsiteX11" fmla="*/ 30956 w 156495"/>
                  <a:gd name="connsiteY11" fmla="*/ 54769 h 293750"/>
                  <a:gd name="connsiteX12" fmla="*/ 30956 w 156495"/>
                  <a:gd name="connsiteY12" fmla="*/ 238982 h 293750"/>
                  <a:gd name="connsiteX13" fmla="*/ 7144 w 156495"/>
                  <a:gd name="connsiteY13" fmla="*/ 262604 h 293750"/>
                  <a:gd name="connsiteX14" fmla="*/ 0 w 156495"/>
                  <a:gd name="connsiteY14" fmla="*/ 262604 h 293750"/>
                  <a:gd name="connsiteX15" fmla="*/ 0 w 156495"/>
                  <a:gd name="connsiteY15" fmla="*/ 293751 h 293750"/>
                  <a:gd name="connsiteX16" fmla="*/ 156496 w 156495"/>
                  <a:gd name="connsiteY16" fmla="*/ 293751 h 293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56495" h="293750">
                    <a:moveTo>
                      <a:pt x="156496" y="293751"/>
                    </a:moveTo>
                    <a:lnTo>
                      <a:pt x="156496" y="262604"/>
                    </a:lnTo>
                    <a:lnTo>
                      <a:pt x="149352" y="262604"/>
                    </a:lnTo>
                    <a:cubicBezTo>
                      <a:pt x="136398" y="262604"/>
                      <a:pt x="125730" y="251936"/>
                      <a:pt x="125730" y="238982"/>
                    </a:cubicBezTo>
                    <a:lnTo>
                      <a:pt x="125730" y="54769"/>
                    </a:lnTo>
                    <a:cubicBezTo>
                      <a:pt x="125730" y="41815"/>
                      <a:pt x="136303" y="31147"/>
                      <a:pt x="149352" y="31147"/>
                    </a:cubicBezTo>
                    <a:lnTo>
                      <a:pt x="156496" y="31147"/>
                    </a:lnTo>
                    <a:lnTo>
                      <a:pt x="156496" y="0"/>
                    </a:lnTo>
                    <a:lnTo>
                      <a:pt x="0" y="0"/>
                    </a:lnTo>
                    <a:lnTo>
                      <a:pt x="0" y="31147"/>
                    </a:lnTo>
                    <a:lnTo>
                      <a:pt x="7144" y="31147"/>
                    </a:lnTo>
                    <a:cubicBezTo>
                      <a:pt x="20383" y="31147"/>
                      <a:pt x="30956" y="41720"/>
                      <a:pt x="30956" y="54769"/>
                    </a:cubicBezTo>
                    <a:lnTo>
                      <a:pt x="30956" y="238982"/>
                    </a:lnTo>
                    <a:cubicBezTo>
                      <a:pt x="30956" y="251936"/>
                      <a:pt x="20383" y="262604"/>
                      <a:pt x="7144" y="262604"/>
                    </a:cubicBezTo>
                    <a:lnTo>
                      <a:pt x="0" y="262604"/>
                    </a:lnTo>
                    <a:lnTo>
                      <a:pt x="0" y="293751"/>
                    </a:lnTo>
                    <a:lnTo>
                      <a:pt x="156496" y="293751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" name="Freihandform: Form 13">
                <a:extLst>
                  <a:ext uri="{FF2B5EF4-FFF2-40B4-BE49-F238E27FC236}">
                    <a16:creationId xmlns:a16="http://schemas.microsoft.com/office/drawing/2014/main" id="{B0E9155A-8868-6D19-3448-DAEAAD6E06F3}"/>
                  </a:ext>
                </a:extLst>
              </p:cNvPr>
              <p:cNvSpPr/>
              <p:nvPr/>
            </p:nvSpPr>
            <p:spPr>
              <a:xfrm>
                <a:off x="5748718" y="3134295"/>
                <a:ext cx="248983" cy="294132"/>
              </a:xfrm>
              <a:custGeom>
                <a:avLst/>
                <a:gdLst>
                  <a:gd name="connsiteX0" fmla="*/ 248983 w 248983"/>
                  <a:gd name="connsiteY0" fmla="*/ 294037 h 294132"/>
                  <a:gd name="connsiteX1" fmla="*/ 248983 w 248983"/>
                  <a:gd name="connsiteY1" fmla="*/ 198596 h 294132"/>
                  <a:gd name="connsiteX2" fmla="*/ 217361 w 248983"/>
                  <a:gd name="connsiteY2" fmla="*/ 198596 h 294132"/>
                  <a:gd name="connsiteX3" fmla="*/ 156496 w 248983"/>
                  <a:gd name="connsiteY3" fmla="*/ 262890 h 294132"/>
                  <a:gd name="connsiteX4" fmla="*/ 124873 w 248983"/>
                  <a:gd name="connsiteY4" fmla="*/ 262890 h 294132"/>
                  <a:gd name="connsiteX5" fmla="*/ 124873 w 248983"/>
                  <a:gd name="connsiteY5" fmla="*/ 162687 h 294132"/>
                  <a:gd name="connsiteX6" fmla="*/ 136112 w 248983"/>
                  <a:gd name="connsiteY6" fmla="*/ 162687 h 294132"/>
                  <a:gd name="connsiteX7" fmla="*/ 159925 w 248983"/>
                  <a:gd name="connsiteY7" fmla="*/ 186500 h 294132"/>
                  <a:gd name="connsiteX8" fmla="*/ 159925 w 248983"/>
                  <a:gd name="connsiteY8" fmla="*/ 198406 h 294132"/>
                  <a:gd name="connsiteX9" fmla="*/ 191071 w 248983"/>
                  <a:gd name="connsiteY9" fmla="*/ 198406 h 294132"/>
                  <a:gd name="connsiteX10" fmla="*/ 191071 w 248983"/>
                  <a:gd name="connsiteY10" fmla="*/ 95631 h 294132"/>
                  <a:gd name="connsiteX11" fmla="*/ 159925 w 248983"/>
                  <a:gd name="connsiteY11" fmla="*/ 95631 h 294132"/>
                  <a:gd name="connsiteX12" fmla="*/ 159925 w 248983"/>
                  <a:gd name="connsiteY12" fmla="*/ 107537 h 294132"/>
                  <a:gd name="connsiteX13" fmla="*/ 136112 w 248983"/>
                  <a:gd name="connsiteY13" fmla="*/ 131350 h 294132"/>
                  <a:gd name="connsiteX14" fmla="*/ 124873 w 248983"/>
                  <a:gd name="connsiteY14" fmla="*/ 131350 h 294132"/>
                  <a:gd name="connsiteX15" fmla="*/ 124873 w 248983"/>
                  <a:gd name="connsiteY15" fmla="*/ 31147 h 294132"/>
                  <a:gd name="connsiteX16" fmla="*/ 156496 w 248983"/>
                  <a:gd name="connsiteY16" fmla="*/ 31147 h 294132"/>
                  <a:gd name="connsiteX17" fmla="*/ 217361 w 248983"/>
                  <a:gd name="connsiteY17" fmla="*/ 95441 h 294132"/>
                  <a:gd name="connsiteX18" fmla="*/ 248983 w 248983"/>
                  <a:gd name="connsiteY18" fmla="*/ 95441 h 294132"/>
                  <a:gd name="connsiteX19" fmla="*/ 248983 w 248983"/>
                  <a:gd name="connsiteY19" fmla="*/ 0 h 294132"/>
                  <a:gd name="connsiteX20" fmla="*/ 0 w 248983"/>
                  <a:gd name="connsiteY20" fmla="*/ 0 h 294132"/>
                  <a:gd name="connsiteX21" fmla="*/ 0 w 248983"/>
                  <a:gd name="connsiteY21" fmla="*/ 31337 h 294132"/>
                  <a:gd name="connsiteX22" fmla="*/ 7144 w 248983"/>
                  <a:gd name="connsiteY22" fmla="*/ 31337 h 294132"/>
                  <a:gd name="connsiteX23" fmla="*/ 30766 w 248983"/>
                  <a:gd name="connsiteY23" fmla="*/ 54959 h 294132"/>
                  <a:gd name="connsiteX24" fmla="*/ 30766 w 248983"/>
                  <a:gd name="connsiteY24" fmla="*/ 239173 h 294132"/>
                  <a:gd name="connsiteX25" fmla="*/ 7144 w 248983"/>
                  <a:gd name="connsiteY25" fmla="*/ 262795 h 294132"/>
                  <a:gd name="connsiteX26" fmla="*/ 0 w 248983"/>
                  <a:gd name="connsiteY26" fmla="*/ 262795 h 294132"/>
                  <a:gd name="connsiteX27" fmla="*/ 0 w 248983"/>
                  <a:gd name="connsiteY27" fmla="*/ 293942 h 294132"/>
                  <a:gd name="connsiteX28" fmla="*/ 248983 w 248983"/>
                  <a:gd name="connsiteY28" fmla="*/ 294132 h 294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248983" h="294132">
                    <a:moveTo>
                      <a:pt x="248983" y="294037"/>
                    </a:moveTo>
                    <a:lnTo>
                      <a:pt x="248983" y="198596"/>
                    </a:lnTo>
                    <a:lnTo>
                      <a:pt x="217361" y="198596"/>
                    </a:lnTo>
                    <a:cubicBezTo>
                      <a:pt x="217361" y="198596"/>
                      <a:pt x="211550" y="262890"/>
                      <a:pt x="156496" y="262890"/>
                    </a:cubicBezTo>
                    <a:lnTo>
                      <a:pt x="124873" y="262890"/>
                    </a:lnTo>
                    <a:lnTo>
                      <a:pt x="124873" y="162687"/>
                    </a:lnTo>
                    <a:lnTo>
                      <a:pt x="136112" y="162687"/>
                    </a:lnTo>
                    <a:cubicBezTo>
                      <a:pt x="149352" y="162687"/>
                      <a:pt x="159925" y="173355"/>
                      <a:pt x="159925" y="186500"/>
                    </a:cubicBezTo>
                    <a:lnTo>
                      <a:pt x="159925" y="198406"/>
                    </a:lnTo>
                    <a:lnTo>
                      <a:pt x="191071" y="198406"/>
                    </a:lnTo>
                    <a:lnTo>
                      <a:pt x="191071" y="95631"/>
                    </a:lnTo>
                    <a:lnTo>
                      <a:pt x="159925" y="95631"/>
                    </a:lnTo>
                    <a:lnTo>
                      <a:pt x="159925" y="107537"/>
                    </a:lnTo>
                    <a:cubicBezTo>
                      <a:pt x="159925" y="120777"/>
                      <a:pt x="149352" y="131350"/>
                      <a:pt x="136112" y="131350"/>
                    </a:cubicBezTo>
                    <a:lnTo>
                      <a:pt x="124873" y="131350"/>
                    </a:lnTo>
                    <a:lnTo>
                      <a:pt x="124873" y="31147"/>
                    </a:lnTo>
                    <a:lnTo>
                      <a:pt x="156496" y="31147"/>
                    </a:lnTo>
                    <a:cubicBezTo>
                      <a:pt x="211455" y="31147"/>
                      <a:pt x="217361" y="95441"/>
                      <a:pt x="217361" y="95441"/>
                    </a:cubicBezTo>
                    <a:lnTo>
                      <a:pt x="248983" y="95441"/>
                    </a:lnTo>
                    <a:lnTo>
                      <a:pt x="248983" y="0"/>
                    </a:lnTo>
                    <a:lnTo>
                      <a:pt x="0" y="0"/>
                    </a:lnTo>
                    <a:lnTo>
                      <a:pt x="0" y="31337"/>
                    </a:lnTo>
                    <a:lnTo>
                      <a:pt x="7144" y="31337"/>
                    </a:lnTo>
                    <a:cubicBezTo>
                      <a:pt x="20098" y="31337"/>
                      <a:pt x="30766" y="42005"/>
                      <a:pt x="30766" y="54959"/>
                    </a:cubicBezTo>
                    <a:lnTo>
                      <a:pt x="30766" y="239173"/>
                    </a:lnTo>
                    <a:cubicBezTo>
                      <a:pt x="30766" y="252127"/>
                      <a:pt x="20193" y="262795"/>
                      <a:pt x="7144" y="262795"/>
                    </a:cubicBezTo>
                    <a:lnTo>
                      <a:pt x="0" y="262795"/>
                    </a:lnTo>
                    <a:lnTo>
                      <a:pt x="0" y="293942"/>
                    </a:lnTo>
                    <a:lnTo>
                      <a:pt x="248983" y="294132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" name="Freihandform: Form 14">
                <a:extLst>
                  <a:ext uri="{FF2B5EF4-FFF2-40B4-BE49-F238E27FC236}">
                    <a16:creationId xmlns:a16="http://schemas.microsoft.com/office/drawing/2014/main" id="{983F3E79-8B35-10AF-1D7D-EE0F71A266D1}"/>
                  </a:ext>
                </a:extLst>
              </p:cNvPr>
              <p:cNvSpPr/>
              <p:nvPr/>
            </p:nvSpPr>
            <p:spPr>
              <a:xfrm>
                <a:off x="6217588" y="3134295"/>
                <a:ext cx="237562" cy="293941"/>
              </a:xfrm>
              <a:custGeom>
                <a:avLst/>
                <a:gdLst>
                  <a:gd name="connsiteX0" fmla="*/ 133586 w 237562"/>
                  <a:gd name="connsiteY0" fmla="*/ 30956 h 293941"/>
                  <a:gd name="connsiteX1" fmla="*/ 201976 w 237562"/>
                  <a:gd name="connsiteY1" fmla="*/ 95250 h 293941"/>
                  <a:gd name="connsiteX2" fmla="*/ 232551 w 237562"/>
                  <a:gd name="connsiteY2" fmla="*/ 95250 h 293941"/>
                  <a:gd name="connsiteX3" fmla="*/ 232551 w 237562"/>
                  <a:gd name="connsiteY3" fmla="*/ 0 h 293941"/>
                  <a:gd name="connsiteX4" fmla="*/ 6713 w 237562"/>
                  <a:gd name="connsiteY4" fmla="*/ 0 h 293941"/>
                  <a:gd name="connsiteX5" fmla="*/ 64339 w 237562"/>
                  <a:gd name="connsiteY5" fmla="*/ 151733 h 293941"/>
                  <a:gd name="connsiteX6" fmla="*/ 132348 w 237562"/>
                  <a:gd name="connsiteY6" fmla="*/ 262795 h 293941"/>
                  <a:gd name="connsiteX7" fmla="*/ 94248 w 237562"/>
                  <a:gd name="connsiteY7" fmla="*/ 262795 h 293941"/>
                  <a:gd name="connsiteX8" fmla="*/ 33383 w 237562"/>
                  <a:gd name="connsiteY8" fmla="*/ 198501 h 293941"/>
                  <a:gd name="connsiteX9" fmla="*/ 1760 w 237562"/>
                  <a:gd name="connsiteY9" fmla="*/ 198501 h 293941"/>
                  <a:gd name="connsiteX10" fmla="*/ 1760 w 237562"/>
                  <a:gd name="connsiteY10" fmla="*/ 293942 h 293941"/>
                  <a:gd name="connsiteX11" fmla="*/ 229312 w 237562"/>
                  <a:gd name="connsiteY11" fmla="*/ 293942 h 293941"/>
                  <a:gd name="connsiteX12" fmla="*/ 168257 w 237562"/>
                  <a:gd name="connsiteY12" fmla="*/ 133731 h 293941"/>
                  <a:gd name="connsiteX13" fmla="*/ 104821 w 237562"/>
                  <a:gd name="connsiteY13" fmla="*/ 30671 h 293941"/>
                  <a:gd name="connsiteX14" fmla="*/ 133586 w 237562"/>
                  <a:gd name="connsiteY14" fmla="*/ 30861 h 2939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37562" h="293941">
                    <a:moveTo>
                      <a:pt x="133586" y="30956"/>
                    </a:moveTo>
                    <a:cubicBezTo>
                      <a:pt x="197023" y="30956"/>
                      <a:pt x="201976" y="95250"/>
                      <a:pt x="201976" y="95250"/>
                    </a:cubicBezTo>
                    <a:lnTo>
                      <a:pt x="232551" y="95250"/>
                    </a:lnTo>
                    <a:lnTo>
                      <a:pt x="232551" y="0"/>
                    </a:lnTo>
                    <a:lnTo>
                      <a:pt x="6713" y="0"/>
                    </a:lnTo>
                    <a:cubicBezTo>
                      <a:pt x="6713" y="0"/>
                      <a:pt x="-29006" y="46768"/>
                      <a:pt x="64339" y="151733"/>
                    </a:cubicBezTo>
                    <a:cubicBezTo>
                      <a:pt x="64339" y="151733"/>
                      <a:pt x="130538" y="228981"/>
                      <a:pt x="132348" y="262795"/>
                    </a:cubicBezTo>
                    <a:lnTo>
                      <a:pt x="94248" y="262795"/>
                    </a:lnTo>
                    <a:cubicBezTo>
                      <a:pt x="39289" y="262795"/>
                      <a:pt x="33383" y="198501"/>
                      <a:pt x="33383" y="198501"/>
                    </a:cubicBezTo>
                    <a:lnTo>
                      <a:pt x="1760" y="198501"/>
                    </a:lnTo>
                    <a:lnTo>
                      <a:pt x="1760" y="293942"/>
                    </a:lnTo>
                    <a:lnTo>
                      <a:pt x="229312" y="293942"/>
                    </a:lnTo>
                    <a:cubicBezTo>
                      <a:pt x="229312" y="293942"/>
                      <a:pt x="270651" y="249365"/>
                      <a:pt x="168257" y="133731"/>
                    </a:cubicBezTo>
                    <a:cubicBezTo>
                      <a:pt x="168257" y="133731"/>
                      <a:pt x="114536" y="78581"/>
                      <a:pt x="104821" y="30671"/>
                    </a:cubicBezTo>
                    <a:lnTo>
                      <a:pt x="133586" y="30861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" name="Freihandform: Form 15">
                <a:extLst>
                  <a:ext uri="{FF2B5EF4-FFF2-40B4-BE49-F238E27FC236}">
                    <a16:creationId xmlns:a16="http://schemas.microsoft.com/office/drawing/2014/main" id="{99850CEF-2A55-D987-6C52-875E3136E449}"/>
                  </a:ext>
                </a:extLst>
              </p:cNvPr>
              <p:cNvSpPr/>
              <p:nvPr/>
            </p:nvSpPr>
            <p:spPr>
              <a:xfrm>
                <a:off x="6481716" y="3134295"/>
                <a:ext cx="237562" cy="293941"/>
              </a:xfrm>
              <a:custGeom>
                <a:avLst/>
                <a:gdLst>
                  <a:gd name="connsiteX0" fmla="*/ 133586 w 237562"/>
                  <a:gd name="connsiteY0" fmla="*/ 30956 h 293941"/>
                  <a:gd name="connsiteX1" fmla="*/ 201976 w 237562"/>
                  <a:gd name="connsiteY1" fmla="*/ 95250 h 293941"/>
                  <a:gd name="connsiteX2" fmla="*/ 232265 w 237562"/>
                  <a:gd name="connsiteY2" fmla="*/ 95250 h 293941"/>
                  <a:gd name="connsiteX3" fmla="*/ 232265 w 237562"/>
                  <a:gd name="connsiteY3" fmla="*/ 0 h 293941"/>
                  <a:gd name="connsiteX4" fmla="*/ 6713 w 237562"/>
                  <a:gd name="connsiteY4" fmla="*/ 0 h 293941"/>
                  <a:gd name="connsiteX5" fmla="*/ 64339 w 237562"/>
                  <a:gd name="connsiteY5" fmla="*/ 151733 h 293941"/>
                  <a:gd name="connsiteX6" fmla="*/ 132348 w 237562"/>
                  <a:gd name="connsiteY6" fmla="*/ 262795 h 293941"/>
                  <a:gd name="connsiteX7" fmla="*/ 94248 w 237562"/>
                  <a:gd name="connsiteY7" fmla="*/ 262795 h 293941"/>
                  <a:gd name="connsiteX8" fmla="*/ 33383 w 237562"/>
                  <a:gd name="connsiteY8" fmla="*/ 198501 h 293941"/>
                  <a:gd name="connsiteX9" fmla="*/ 1760 w 237562"/>
                  <a:gd name="connsiteY9" fmla="*/ 198501 h 293941"/>
                  <a:gd name="connsiteX10" fmla="*/ 1760 w 237562"/>
                  <a:gd name="connsiteY10" fmla="*/ 293942 h 293941"/>
                  <a:gd name="connsiteX11" fmla="*/ 229313 w 237562"/>
                  <a:gd name="connsiteY11" fmla="*/ 293942 h 293941"/>
                  <a:gd name="connsiteX12" fmla="*/ 168257 w 237562"/>
                  <a:gd name="connsiteY12" fmla="*/ 133731 h 293941"/>
                  <a:gd name="connsiteX13" fmla="*/ 104821 w 237562"/>
                  <a:gd name="connsiteY13" fmla="*/ 30671 h 293941"/>
                  <a:gd name="connsiteX14" fmla="*/ 133586 w 237562"/>
                  <a:gd name="connsiteY14" fmla="*/ 30861 h 2939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37562" h="293941">
                    <a:moveTo>
                      <a:pt x="133586" y="30956"/>
                    </a:moveTo>
                    <a:cubicBezTo>
                      <a:pt x="196832" y="30956"/>
                      <a:pt x="201976" y="95250"/>
                      <a:pt x="201976" y="95250"/>
                    </a:cubicBezTo>
                    <a:lnTo>
                      <a:pt x="232265" y="95250"/>
                    </a:lnTo>
                    <a:lnTo>
                      <a:pt x="232265" y="0"/>
                    </a:lnTo>
                    <a:lnTo>
                      <a:pt x="6713" y="0"/>
                    </a:lnTo>
                    <a:cubicBezTo>
                      <a:pt x="6713" y="0"/>
                      <a:pt x="-29006" y="46768"/>
                      <a:pt x="64339" y="151733"/>
                    </a:cubicBezTo>
                    <a:cubicBezTo>
                      <a:pt x="64339" y="151733"/>
                      <a:pt x="130538" y="228981"/>
                      <a:pt x="132348" y="262795"/>
                    </a:cubicBezTo>
                    <a:lnTo>
                      <a:pt x="94248" y="262795"/>
                    </a:lnTo>
                    <a:cubicBezTo>
                      <a:pt x="39289" y="262795"/>
                      <a:pt x="33383" y="198501"/>
                      <a:pt x="33383" y="198501"/>
                    </a:cubicBezTo>
                    <a:lnTo>
                      <a:pt x="1760" y="198501"/>
                    </a:lnTo>
                    <a:lnTo>
                      <a:pt x="1760" y="293942"/>
                    </a:lnTo>
                    <a:lnTo>
                      <a:pt x="229313" y="293942"/>
                    </a:lnTo>
                    <a:cubicBezTo>
                      <a:pt x="229313" y="293942"/>
                      <a:pt x="270651" y="249365"/>
                      <a:pt x="168257" y="133731"/>
                    </a:cubicBezTo>
                    <a:cubicBezTo>
                      <a:pt x="168257" y="133731"/>
                      <a:pt x="114536" y="78581"/>
                      <a:pt x="104821" y="30671"/>
                    </a:cubicBezTo>
                    <a:lnTo>
                      <a:pt x="133586" y="30861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cxnSp>
        <p:nvCxnSpPr>
          <p:cNvPr id="7" name="Gerade Verbindung 68">
            <a:extLst>
              <a:ext uri="{FF2B5EF4-FFF2-40B4-BE49-F238E27FC236}">
                <a16:creationId xmlns:a16="http://schemas.microsoft.com/office/drawing/2014/main" id="{0DE7ECB5-A39C-3A8D-25EE-9D87D7A17264}"/>
              </a:ext>
            </a:extLst>
          </p:cNvPr>
          <p:cNvCxnSpPr>
            <a:cxnSpLocks/>
          </p:cNvCxnSpPr>
          <p:nvPr userDrawn="1"/>
        </p:nvCxnSpPr>
        <p:spPr>
          <a:xfrm>
            <a:off x="0" y="6639473"/>
            <a:ext cx="12192000" cy="0"/>
          </a:xfrm>
          <a:prstGeom prst="line">
            <a:avLst/>
          </a:prstGeom>
          <a:ln w="6350">
            <a:solidFill>
              <a:srgbClr val="DCE3E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B8B425C7-93C9-5A55-65E0-8FB6B83C5023}"/>
              </a:ext>
            </a:extLst>
          </p:cNvPr>
          <p:cNvGrpSpPr/>
          <p:nvPr userDrawn="1"/>
        </p:nvGrpSpPr>
        <p:grpSpPr>
          <a:xfrm>
            <a:off x="304116" y="-697714"/>
            <a:ext cx="11370764" cy="411957"/>
            <a:chOff x="304116" y="6944502"/>
            <a:chExt cx="11370764" cy="411957"/>
          </a:xfrm>
        </p:grpSpPr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F8F717D9-9057-6505-A3E6-DBF1579A026A}"/>
                </a:ext>
              </a:extLst>
            </p:cNvPr>
            <p:cNvGrpSpPr/>
            <p:nvPr/>
          </p:nvGrpSpPr>
          <p:grpSpPr>
            <a:xfrm rot="16200000">
              <a:off x="204049" y="7044570"/>
              <a:ext cx="411956" cy="211821"/>
              <a:chOff x="-615197" y="4299854"/>
              <a:chExt cx="411956" cy="211821"/>
            </a:xfrm>
          </p:grpSpPr>
          <p:cxnSp>
            <p:nvCxnSpPr>
              <p:cNvPr id="29" name="Gerader Verbinder 28">
                <a:extLst>
                  <a:ext uri="{FF2B5EF4-FFF2-40B4-BE49-F238E27FC236}">
                    <a16:creationId xmlns:a16="http://schemas.microsoft.com/office/drawing/2014/main" id="{E13EEBD4-A9B2-BF82-A3F0-4F7D9FCDBD3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0" name="Textfeld 29">
                <a:extLst>
                  <a:ext uri="{FF2B5EF4-FFF2-40B4-BE49-F238E27FC236}">
                    <a16:creationId xmlns:a16="http://schemas.microsoft.com/office/drawing/2014/main" id="{AA5204B6-F6FB-6785-6C73-48CEA9146EB3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15.50</a:t>
                </a:r>
              </a:p>
            </p:txBody>
          </p:sp>
        </p:grpSp>
        <p:grpSp>
          <p:nvGrpSpPr>
            <p:cNvPr id="19" name="Gruppieren 18">
              <a:extLst>
                <a:ext uri="{FF2B5EF4-FFF2-40B4-BE49-F238E27FC236}">
                  <a16:creationId xmlns:a16="http://schemas.microsoft.com/office/drawing/2014/main" id="{9D290667-E299-8263-B95D-4FA80DB65491}"/>
                </a:ext>
              </a:extLst>
            </p:cNvPr>
            <p:cNvGrpSpPr/>
            <p:nvPr/>
          </p:nvGrpSpPr>
          <p:grpSpPr>
            <a:xfrm rot="16200000">
              <a:off x="5639649" y="7044570"/>
              <a:ext cx="411956" cy="211821"/>
              <a:chOff x="-615197" y="4299854"/>
              <a:chExt cx="411956" cy="211821"/>
            </a:xfrm>
          </p:grpSpPr>
          <p:cxnSp>
            <p:nvCxnSpPr>
              <p:cNvPr id="27" name="Gerader Verbinder 26">
                <a:extLst>
                  <a:ext uri="{FF2B5EF4-FFF2-40B4-BE49-F238E27FC236}">
                    <a16:creationId xmlns:a16="http://schemas.microsoft.com/office/drawing/2014/main" id="{0EAAD82B-BC52-3760-139C-A010B83CC75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8" name="Textfeld 27">
                <a:extLst>
                  <a:ext uri="{FF2B5EF4-FFF2-40B4-BE49-F238E27FC236}">
                    <a16:creationId xmlns:a16="http://schemas.microsoft.com/office/drawing/2014/main" id="{CF0C8256-3513-00DF-5104-9B65E58AA1ED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0.40</a:t>
                </a:r>
              </a:p>
            </p:txBody>
          </p:sp>
        </p:grpSp>
        <p:grpSp>
          <p:nvGrpSpPr>
            <p:cNvPr id="20" name="Gruppieren 19">
              <a:extLst>
                <a:ext uri="{FF2B5EF4-FFF2-40B4-BE49-F238E27FC236}">
                  <a16:creationId xmlns:a16="http://schemas.microsoft.com/office/drawing/2014/main" id="{DB03A12D-9153-141B-7BB0-27E22B6D362C}"/>
                </a:ext>
              </a:extLst>
            </p:cNvPr>
            <p:cNvGrpSpPr/>
            <p:nvPr/>
          </p:nvGrpSpPr>
          <p:grpSpPr>
            <a:xfrm rot="5400000">
              <a:off x="6093326" y="7046990"/>
              <a:ext cx="411956" cy="206980"/>
              <a:chOff x="-615197" y="4350961"/>
              <a:chExt cx="411956" cy="206980"/>
            </a:xfrm>
          </p:grpSpPr>
          <p:cxnSp>
            <p:nvCxnSpPr>
              <p:cNvPr id="25" name="Gerader Verbinder 24">
                <a:extLst>
                  <a:ext uri="{FF2B5EF4-FFF2-40B4-BE49-F238E27FC236}">
                    <a16:creationId xmlns:a16="http://schemas.microsoft.com/office/drawing/2014/main" id="{8733FADC-EE26-DFEB-9498-CB0253C8750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feld 25">
                <a:extLst>
                  <a:ext uri="{FF2B5EF4-FFF2-40B4-BE49-F238E27FC236}">
                    <a16:creationId xmlns:a16="http://schemas.microsoft.com/office/drawing/2014/main" id="{3B23F601-3E0C-74BC-36F7-7343F09396B8}"/>
                  </a:ext>
                </a:extLst>
              </p:cNvPr>
              <p:cNvSpPr txBox="1"/>
              <p:nvPr/>
            </p:nvSpPr>
            <p:spPr>
              <a:xfrm rot="10800000">
                <a:off x="-615197" y="4350961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0.40</a:t>
                </a:r>
              </a:p>
            </p:txBody>
          </p:sp>
        </p:grp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D063EA3C-B945-C196-357A-EED7400C1769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5890022" y="7150480"/>
              <a:ext cx="411956" cy="0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C3748B6E-7767-903A-202B-749887FCFC30}"/>
                </a:ext>
              </a:extLst>
            </p:cNvPr>
            <p:cNvGrpSpPr/>
            <p:nvPr/>
          </p:nvGrpSpPr>
          <p:grpSpPr>
            <a:xfrm rot="16200000">
              <a:off x="11362992" y="7044570"/>
              <a:ext cx="411956" cy="211821"/>
              <a:chOff x="-615197" y="4299854"/>
              <a:chExt cx="411956" cy="211821"/>
            </a:xfrm>
          </p:grpSpPr>
          <p:cxnSp>
            <p:nvCxnSpPr>
              <p:cNvPr id="23" name="Gerader Verbinder 22">
                <a:extLst>
                  <a:ext uri="{FF2B5EF4-FFF2-40B4-BE49-F238E27FC236}">
                    <a16:creationId xmlns:a16="http://schemas.microsoft.com/office/drawing/2014/main" id="{68C54F31-4BDF-FAC6-E60F-14FE4124FD9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4" name="Textfeld 23">
                <a:extLst>
                  <a:ext uri="{FF2B5EF4-FFF2-40B4-BE49-F238E27FC236}">
                    <a16:creationId xmlns:a16="http://schemas.microsoft.com/office/drawing/2014/main" id="{D1FF5D14-1324-8A36-C718-CDEE9EAF4127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15.50</a:t>
                </a:r>
              </a:p>
            </p:txBody>
          </p:sp>
        </p:grpSp>
      </p:grp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70A18D0D-7881-476B-1F23-67782AC6D2E0}"/>
              </a:ext>
            </a:extLst>
          </p:cNvPr>
          <p:cNvGrpSpPr/>
          <p:nvPr userDrawn="1"/>
        </p:nvGrpSpPr>
        <p:grpSpPr>
          <a:xfrm>
            <a:off x="-697714" y="80201"/>
            <a:ext cx="411956" cy="6720119"/>
            <a:chOff x="-502267" y="80201"/>
            <a:chExt cx="411956" cy="6720119"/>
          </a:xfrm>
        </p:grpSpPr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6EDB6C25-DF23-3965-3B94-00E258AEB957}"/>
                </a:ext>
              </a:extLst>
            </p:cNvPr>
            <p:cNvGrpSpPr/>
            <p:nvPr/>
          </p:nvGrpSpPr>
          <p:grpSpPr>
            <a:xfrm>
              <a:off x="-502267" y="6593340"/>
              <a:ext cx="411956" cy="206980"/>
              <a:chOff x="-615197" y="4452994"/>
              <a:chExt cx="411956" cy="206980"/>
            </a:xfrm>
          </p:grpSpPr>
          <p:sp>
            <p:nvSpPr>
              <p:cNvPr id="82" name="Textfeld 81">
                <a:extLst>
                  <a:ext uri="{FF2B5EF4-FFF2-40B4-BE49-F238E27FC236}">
                    <a16:creationId xmlns:a16="http://schemas.microsoft.com/office/drawing/2014/main" id="{4D3A9501-6434-41D7-25CB-18DE484333D8}"/>
                  </a:ext>
                </a:extLst>
              </p:cNvPr>
              <p:cNvSpPr txBox="1"/>
              <p:nvPr/>
            </p:nvSpPr>
            <p:spPr>
              <a:xfrm>
                <a:off x="-615197" y="445299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8.92</a:t>
                </a:r>
              </a:p>
            </p:txBody>
          </p:sp>
          <p:cxnSp>
            <p:nvCxnSpPr>
              <p:cNvPr id="83" name="Gerader Verbinder 82">
                <a:extLst>
                  <a:ext uri="{FF2B5EF4-FFF2-40B4-BE49-F238E27FC236}">
                    <a16:creationId xmlns:a16="http://schemas.microsoft.com/office/drawing/2014/main" id="{B423545B-E1DF-18F2-94AF-4C225F9B2B8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97389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uppieren 32">
              <a:extLst>
                <a:ext uri="{FF2B5EF4-FFF2-40B4-BE49-F238E27FC236}">
                  <a16:creationId xmlns:a16="http://schemas.microsoft.com/office/drawing/2014/main" id="{A75EE0A4-938D-0EF8-DE23-298A6EFF8D5F}"/>
                </a:ext>
              </a:extLst>
            </p:cNvPr>
            <p:cNvGrpSpPr/>
            <p:nvPr/>
          </p:nvGrpSpPr>
          <p:grpSpPr>
            <a:xfrm>
              <a:off x="-502267" y="5876163"/>
              <a:ext cx="411956" cy="216662"/>
              <a:chOff x="-615197" y="4295013"/>
              <a:chExt cx="411956" cy="216662"/>
            </a:xfrm>
          </p:grpSpPr>
          <p:cxnSp>
            <p:nvCxnSpPr>
              <p:cNvPr id="64" name="Gerader Verbinder 63">
                <a:extLst>
                  <a:ext uri="{FF2B5EF4-FFF2-40B4-BE49-F238E27FC236}">
                    <a16:creationId xmlns:a16="http://schemas.microsoft.com/office/drawing/2014/main" id="{84911F92-6FCA-14C6-C714-4B6D868D7E1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6" name="Textfeld 65">
                <a:extLst>
                  <a:ext uri="{FF2B5EF4-FFF2-40B4-BE49-F238E27FC236}">
                    <a16:creationId xmlns:a16="http://schemas.microsoft.com/office/drawing/2014/main" id="{237450D3-4DE1-205E-E410-ADC0456AC766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7.40</a:t>
                </a:r>
              </a:p>
            </p:txBody>
          </p:sp>
        </p:grpSp>
        <p:grpSp>
          <p:nvGrpSpPr>
            <p:cNvPr id="34" name="Gruppieren 33">
              <a:extLst>
                <a:ext uri="{FF2B5EF4-FFF2-40B4-BE49-F238E27FC236}">
                  <a16:creationId xmlns:a16="http://schemas.microsoft.com/office/drawing/2014/main" id="{1356E079-3882-276F-86E9-C1F7D9B63A61}"/>
                </a:ext>
              </a:extLst>
            </p:cNvPr>
            <p:cNvGrpSpPr/>
            <p:nvPr/>
          </p:nvGrpSpPr>
          <p:grpSpPr>
            <a:xfrm>
              <a:off x="-502267" y="3212338"/>
              <a:ext cx="411956" cy="216662"/>
              <a:chOff x="-615197" y="4295013"/>
              <a:chExt cx="411956" cy="216662"/>
            </a:xfrm>
          </p:grpSpPr>
          <p:cxnSp>
            <p:nvCxnSpPr>
              <p:cNvPr id="47" name="Gerader Verbinder 46">
                <a:extLst>
                  <a:ext uri="{FF2B5EF4-FFF2-40B4-BE49-F238E27FC236}">
                    <a16:creationId xmlns:a16="http://schemas.microsoft.com/office/drawing/2014/main" id="{B8944B43-A7B3-1068-83F8-D84B8D17AC5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7" name="Textfeld 56">
                <a:extLst>
                  <a:ext uri="{FF2B5EF4-FFF2-40B4-BE49-F238E27FC236}">
                    <a16:creationId xmlns:a16="http://schemas.microsoft.com/office/drawing/2014/main" id="{D613FE21-4DEE-3F2E-9A02-DF7530085591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0.00</a:t>
                </a:r>
              </a:p>
            </p:txBody>
          </p:sp>
        </p:grpSp>
        <p:grpSp>
          <p:nvGrpSpPr>
            <p:cNvPr id="35" name="Gruppieren 34">
              <a:extLst>
                <a:ext uri="{FF2B5EF4-FFF2-40B4-BE49-F238E27FC236}">
                  <a16:creationId xmlns:a16="http://schemas.microsoft.com/office/drawing/2014/main" id="{16AF2D5D-9B3F-F8F2-268B-7D98AE634860}"/>
                </a:ext>
              </a:extLst>
            </p:cNvPr>
            <p:cNvGrpSpPr/>
            <p:nvPr/>
          </p:nvGrpSpPr>
          <p:grpSpPr>
            <a:xfrm>
              <a:off x="-502267" y="835851"/>
              <a:ext cx="411956" cy="216662"/>
              <a:chOff x="-615197" y="4295013"/>
              <a:chExt cx="411956" cy="216662"/>
            </a:xfrm>
          </p:grpSpPr>
          <p:cxnSp>
            <p:nvCxnSpPr>
              <p:cNvPr id="43" name="Gerader Verbinder 42">
                <a:extLst>
                  <a:ext uri="{FF2B5EF4-FFF2-40B4-BE49-F238E27FC236}">
                    <a16:creationId xmlns:a16="http://schemas.microsoft.com/office/drawing/2014/main" id="{588A7340-EA3E-06E1-7817-C1E9D9C2A4B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6" name="Textfeld 45">
                <a:extLst>
                  <a:ext uri="{FF2B5EF4-FFF2-40B4-BE49-F238E27FC236}">
                    <a16:creationId xmlns:a16="http://schemas.microsoft.com/office/drawing/2014/main" id="{B8C4D45B-6208-14EE-3718-20E5213E007F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6.60</a:t>
                </a:r>
              </a:p>
            </p:txBody>
          </p:sp>
        </p:grpSp>
        <p:grpSp>
          <p:nvGrpSpPr>
            <p:cNvPr id="36" name="Gruppieren 35">
              <a:extLst>
                <a:ext uri="{FF2B5EF4-FFF2-40B4-BE49-F238E27FC236}">
                  <a16:creationId xmlns:a16="http://schemas.microsoft.com/office/drawing/2014/main" id="{7A77FF9D-88E4-279B-1128-861D7F4A191A}"/>
                </a:ext>
              </a:extLst>
            </p:cNvPr>
            <p:cNvGrpSpPr/>
            <p:nvPr/>
          </p:nvGrpSpPr>
          <p:grpSpPr>
            <a:xfrm>
              <a:off x="-502267" y="1412113"/>
              <a:ext cx="411956" cy="216662"/>
              <a:chOff x="-615197" y="4295013"/>
              <a:chExt cx="411956" cy="216662"/>
            </a:xfrm>
          </p:grpSpPr>
          <p:cxnSp>
            <p:nvCxnSpPr>
              <p:cNvPr id="40" name="Gerader Verbinder 39">
                <a:extLst>
                  <a:ext uri="{FF2B5EF4-FFF2-40B4-BE49-F238E27FC236}">
                    <a16:creationId xmlns:a16="http://schemas.microsoft.com/office/drawing/2014/main" id="{1AE96096-38C4-7B0C-A50C-9C0A210DAF1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Textfeld 40">
                <a:extLst>
                  <a:ext uri="{FF2B5EF4-FFF2-40B4-BE49-F238E27FC236}">
                    <a16:creationId xmlns:a16="http://schemas.microsoft.com/office/drawing/2014/main" id="{B43B88FF-F993-A2B4-A7D5-22D7A92A64C8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5.00</a:t>
                </a:r>
              </a:p>
            </p:txBody>
          </p:sp>
        </p:grpSp>
        <p:grpSp>
          <p:nvGrpSpPr>
            <p:cNvPr id="37" name="Gruppieren 36">
              <a:extLst>
                <a:ext uri="{FF2B5EF4-FFF2-40B4-BE49-F238E27FC236}">
                  <a16:creationId xmlns:a16="http://schemas.microsoft.com/office/drawing/2014/main" id="{A16DFA3F-F8DA-A675-1BB3-5AA7644561AA}"/>
                </a:ext>
              </a:extLst>
            </p:cNvPr>
            <p:cNvGrpSpPr/>
            <p:nvPr/>
          </p:nvGrpSpPr>
          <p:grpSpPr>
            <a:xfrm>
              <a:off x="-502267" y="80201"/>
              <a:ext cx="411956" cy="216662"/>
              <a:chOff x="-615197" y="4258501"/>
              <a:chExt cx="411956" cy="216662"/>
            </a:xfrm>
          </p:grpSpPr>
          <p:cxnSp>
            <p:nvCxnSpPr>
              <p:cNvPr id="38" name="Gerader Verbinder 37">
                <a:extLst>
                  <a:ext uri="{FF2B5EF4-FFF2-40B4-BE49-F238E27FC236}">
                    <a16:creationId xmlns:a16="http://schemas.microsoft.com/office/drawing/2014/main" id="{C34395AE-8B2F-5BEF-7DCD-EB9009C082F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75163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9" name="Textfeld 38">
                <a:extLst>
                  <a:ext uri="{FF2B5EF4-FFF2-40B4-BE49-F238E27FC236}">
                    <a16:creationId xmlns:a16="http://schemas.microsoft.com/office/drawing/2014/main" id="{85693DBB-BE36-AD38-777B-EAD1BE95FE0C}"/>
                  </a:ext>
                </a:extLst>
              </p:cNvPr>
              <p:cNvSpPr txBox="1"/>
              <p:nvPr/>
            </p:nvSpPr>
            <p:spPr>
              <a:xfrm>
                <a:off x="-615197" y="4258501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" panose="020B0503040204020203" pitchFamily="34" charset="0"/>
                    <a:ea typeface="+mn-ea"/>
                    <a:cs typeface="ZEISS Frutiger Next W1G" panose="020B0503040204020203" pitchFamily="34" charset="0"/>
                  </a:rPr>
                  <a:t>08.70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815893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</p:sldLayoutIdLst>
  <p:hf sldNum="0"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5" orient="horz" pos="2160" userDrawn="1">
          <p15:clr>
            <a:srgbClr val="A4A3A4"/>
          </p15:clr>
        </p15:guide>
        <p15:guide id="26" pos="3840" userDrawn="1">
          <p15:clr>
            <a:srgbClr val="A4A3A4"/>
          </p15:clr>
        </p15:guide>
        <p15:guide id="27" pos="325" userDrawn="1">
          <p15:clr>
            <a:srgbClr val="A4A3A4"/>
          </p15:clr>
        </p15:guide>
        <p15:guide id="28" pos="7355" userDrawn="1">
          <p15:clr>
            <a:srgbClr val="A4A3A4"/>
          </p15:clr>
        </p15:guide>
        <p15:guide id="29" pos="3931" userDrawn="1">
          <p15:clr>
            <a:srgbClr val="A4A3A4"/>
          </p15:clr>
        </p15:guide>
        <p15:guide id="30" pos="3749" userDrawn="1">
          <p15:clr>
            <a:srgbClr val="A4A3A4"/>
          </p15:clr>
        </p15:guide>
        <p15:guide id="31" orient="horz" pos="187" userDrawn="1">
          <p15:clr>
            <a:srgbClr val="A4A3A4"/>
          </p15:clr>
        </p15:guide>
        <p15:guide id="32" orient="horz" pos="663" userDrawn="1">
          <p15:clr>
            <a:srgbClr val="A4A3A4"/>
          </p15:clr>
        </p15:guide>
        <p15:guide id="33" orient="horz" pos="1026" userDrawn="1">
          <p15:clr>
            <a:srgbClr val="A4A3A4"/>
          </p15:clr>
        </p15:guide>
        <p15:guide id="34" orient="horz" pos="4184" userDrawn="1">
          <p15:clr>
            <a:srgbClr val="A4A3A4"/>
          </p15:clr>
        </p15:guide>
        <p15:guide id="35" orient="horz" pos="3838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video" Target="../media/media6.mp4"/><Relationship Id="rId1" Type="http://schemas.microsoft.com/office/2007/relationships/media" Target="../media/media6.mp4"/><Relationship Id="rId4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7" Type="http://schemas.openxmlformats.org/officeDocument/2006/relationships/image" Target="../media/image24.png"/><Relationship Id="rId2" Type="http://schemas.microsoft.com/office/2018/10/relationships/comments" Target="../comments/modernComment_100_DB04D68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7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2.xml"/><Relationship Id="rId5" Type="http://schemas.openxmlformats.org/officeDocument/2006/relationships/image" Target="../media/image33.jpg"/><Relationship Id="rId4" Type="http://schemas.openxmlformats.org/officeDocument/2006/relationships/image" Target="../media/image32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4.xml"/><Relationship Id="rId1" Type="http://schemas.openxmlformats.org/officeDocument/2006/relationships/tags" Target="../tags/tag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4.xml"/><Relationship Id="rId1" Type="http://schemas.openxmlformats.org/officeDocument/2006/relationships/tags" Target="../tags/tag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07/relationships/media" Target="../media/media2.mp4"/><Relationship Id="rId7" Type="http://schemas.openxmlformats.org/officeDocument/2006/relationships/image" Target="../media/image4.pn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3.png"/><Relationship Id="rId5" Type="http://schemas.openxmlformats.org/officeDocument/2006/relationships/slideLayout" Target="../slideLayouts/slideLayout21.xml"/><Relationship Id="rId4" Type="http://schemas.openxmlformats.org/officeDocument/2006/relationships/video" Target="../media/media2.mp4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microsoft.com/office/2007/relationships/media" Target="../media/media4.mp3"/><Relationship Id="rId7" Type="http://schemas.openxmlformats.org/officeDocument/2006/relationships/slideLayout" Target="../slideLayouts/slideLayout21.xml"/><Relationship Id="rId2" Type="http://schemas.openxmlformats.org/officeDocument/2006/relationships/audio" Target="../media/media3.mp3"/><Relationship Id="rId1" Type="http://schemas.microsoft.com/office/2007/relationships/media" Target="../media/media3.mp3"/><Relationship Id="rId6" Type="http://schemas.openxmlformats.org/officeDocument/2006/relationships/audio" Target="../media/media5.mp3"/><Relationship Id="rId11" Type="http://schemas.openxmlformats.org/officeDocument/2006/relationships/image" Target="../media/image11.png"/><Relationship Id="rId5" Type="http://schemas.microsoft.com/office/2007/relationships/media" Target="../media/media5.mp3"/><Relationship Id="rId10" Type="http://schemas.openxmlformats.org/officeDocument/2006/relationships/image" Target="../media/image10.png"/><Relationship Id="rId4" Type="http://schemas.openxmlformats.org/officeDocument/2006/relationships/audio" Target="../media/media4.mp3"/><Relationship Id="rId9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hyperlink" Target="https://huggingface.co/spaces/ByteDance/DreamO" TargetMode="External"/><Relationship Id="rId1" Type="http://schemas.openxmlformats.org/officeDocument/2006/relationships/slideLayout" Target="../slideLayouts/slideLayout21.xml"/><Relationship Id="rId5" Type="http://schemas.openxmlformats.org/officeDocument/2006/relationships/hyperlink" Target="https://framepack.co/" TargetMode="External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8.jpeg"/><Relationship Id="rId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>
            <a:extLst>
              <a:ext uri="{FF2B5EF4-FFF2-40B4-BE49-F238E27FC236}">
                <a16:creationId xmlns:a16="http://schemas.microsoft.com/office/drawing/2014/main" id="{5950EE04-22F5-4E74-8D9A-71D57E4F06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Generative AI at Carl ZEISS: Riding the runaway train</a:t>
            </a:r>
            <a:endParaRPr lang="en-US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05A9552E-BFA0-45BA-9EEB-ECD1F6B9CDD7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518319" y="3849556"/>
            <a:ext cx="5836534" cy="2200602"/>
          </a:xfrm>
        </p:spPr>
        <p:txBody>
          <a:bodyPr wrap="none">
            <a:spAutoFit/>
          </a:bodyPr>
          <a:lstStyle/>
          <a:p>
            <a:r>
              <a:rPr lang="en-US" dirty="0">
                <a:solidFill>
                  <a:schemeClr val="accent1"/>
                </a:solidFill>
                <a:latin typeface="+mn-lt"/>
              </a:rPr>
              <a:t>Now -- Dr. Ben Hoyle</a:t>
            </a:r>
            <a:endParaRPr lang="de-DE" dirty="0">
              <a:solidFill>
                <a:schemeClr val="accent1"/>
              </a:solidFill>
              <a:latin typeface="+mn-lt"/>
            </a:endParaRPr>
          </a:p>
          <a:p>
            <a:r>
              <a:rPr lang="de-DE" dirty="0">
                <a:solidFill>
                  <a:schemeClr val="accent1"/>
                </a:solidFill>
                <a:latin typeface="+mn-lt"/>
              </a:rPr>
              <a:t>Carl ZEISS</a:t>
            </a:r>
          </a:p>
          <a:p>
            <a:r>
              <a:rPr lang="de-DE" dirty="0" err="1">
                <a:solidFill>
                  <a:schemeClr val="accent1"/>
                </a:solidFill>
                <a:latin typeface="+mn-lt"/>
              </a:rPr>
              <a:t>Advanced</a:t>
            </a:r>
            <a:r>
              <a:rPr lang="de-DE" dirty="0">
                <a:solidFill>
                  <a:schemeClr val="accent1"/>
                </a:solidFill>
                <a:latin typeface="+mn-lt"/>
              </a:rPr>
              <a:t> Technologies;</a:t>
            </a:r>
          </a:p>
          <a:p>
            <a:r>
              <a:rPr lang="de-DE" dirty="0">
                <a:solidFill>
                  <a:schemeClr val="accent1"/>
                </a:solidFill>
                <a:latin typeface="+mn-lt"/>
              </a:rPr>
              <a:t>Scouting </a:t>
            </a:r>
            <a:r>
              <a:rPr lang="de-DE" dirty="0" err="1">
                <a:solidFill>
                  <a:schemeClr val="accent1"/>
                </a:solidFill>
                <a:latin typeface="+mn-lt"/>
              </a:rPr>
              <a:t>new</a:t>
            </a:r>
            <a:r>
              <a:rPr lang="de-DE" dirty="0">
                <a:solidFill>
                  <a:schemeClr val="accent1"/>
                </a:solidFill>
                <a:latin typeface="+mn-lt"/>
              </a:rPr>
              <a:t> cool </a:t>
            </a:r>
            <a:r>
              <a:rPr lang="de-DE" dirty="0" err="1">
                <a:solidFill>
                  <a:schemeClr val="accent1"/>
                </a:solidFill>
                <a:latin typeface="+mn-lt"/>
              </a:rPr>
              <a:t>ideas</a:t>
            </a:r>
            <a:endParaRPr lang="de-DE" dirty="0">
              <a:solidFill>
                <a:schemeClr val="accent1"/>
              </a:solidFill>
              <a:latin typeface="+mn-lt"/>
            </a:endParaRPr>
          </a:p>
          <a:p>
            <a:r>
              <a:rPr lang="de-DE" dirty="0">
                <a:solidFill>
                  <a:schemeClr val="accent1"/>
                </a:solidFill>
                <a:latin typeface="+mn-lt"/>
              </a:rPr>
              <a:t>Building </a:t>
            </a:r>
            <a:r>
              <a:rPr lang="de-DE" dirty="0" err="1">
                <a:solidFill>
                  <a:schemeClr val="accent1"/>
                </a:solidFill>
                <a:latin typeface="+mn-lt"/>
              </a:rPr>
              <a:t>early</a:t>
            </a:r>
            <a:r>
              <a:rPr lang="de-DE" dirty="0">
                <a:solidFill>
                  <a:schemeClr val="accent1"/>
                </a:solidFill>
                <a:latin typeface="+mn-lt"/>
              </a:rPr>
              <a:t> </a:t>
            </a:r>
            <a:r>
              <a:rPr lang="de-DE" dirty="0" err="1">
                <a:solidFill>
                  <a:schemeClr val="accent1"/>
                </a:solidFill>
                <a:latin typeface="+mn-lt"/>
              </a:rPr>
              <a:t>prototypes</a:t>
            </a:r>
            <a:r>
              <a:rPr lang="de-DE" dirty="0">
                <a:solidFill>
                  <a:schemeClr val="accent1"/>
                </a:solidFill>
                <a:latin typeface="+mn-lt"/>
              </a:rPr>
              <a:t>, </a:t>
            </a:r>
            <a:r>
              <a:rPr lang="de-DE" dirty="0" err="1">
                <a:solidFill>
                  <a:schemeClr val="accent1"/>
                </a:solidFill>
                <a:latin typeface="+mn-lt"/>
              </a:rPr>
              <a:t>getting</a:t>
            </a:r>
            <a:r>
              <a:rPr lang="de-DE" dirty="0">
                <a:solidFill>
                  <a:schemeClr val="accent1"/>
                </a:solidFill>
                <a:latin typeface="+mn-lt"/>
              </a:rPr>
              <a:t> </a:t>
            </a:r>
            <a:r>
              <a:rPr lang="de-DE" dirty="0" err="1">
                <a:solidFill>
                  <a:schemeClr val="accent1"/>
                </a:solidFill>
                <a:latin typeface="+mn-lt"/>
              </a:rPr>
              <a:t>people</a:t>
            </a:r>
            <a:r>
              <a:rPr lang="de-DE" dirty="0">
                <a:solidFill>
                  <a:schemeClr val="accent1"/>
                </a:solidFill>
                <a:latin typeface="+mn-lt"/>
              </a:rPr>
              <a:t> </a:t>
            </a:r>
            <a:r>
              <a:rPr lang="de-DE" dirty="0" err="1">
                <a:solidFill>
                  <a:schemeClr val="accent1"/>
                </a:solidFill>
                <a:latin typeface="+mn-lt"/>
              </a:rPr>
              <a:t>excited</a:t>
            </a:r>
            <a:endParaRPr lang="de-DE" dirty="0">
              <a:solidFill>
                <a:schemeClr val="accent1"/>
              </a:solidFill>
              <a:latin typeface="+mn-lt"/>
            </a:endParaRPr>
          </a:p>
          <a:p>
            <a:r>
              <a:rPr lang="de-DE" dirty="0">
                <a:solidFill>
                  <a:schemeClr val="accent1"/>
                </a:solidFill>
                <a:latin typeface="+mn-lt"/>
              </a:rPr>
              <a:t>AI [ML] /</a:t>
            </a:r>
            <a:r>
              <a:rPr lang="de-DE" dirty="0" err="1">
                <a:solidFill>
                  <a:schemeClr val="accent1"/>
                </a:solidFill>
                <a:latin typeface="+mn-lt"/>
              </a:rPr>
              <a:t>GenAI</a:t>
            </a:r>
            <a:r>
              <a:rPr lang="de-DE" dirty="0">
                <a:solidFill>
                  <a:schemeClr val="accent1"/>
                </a:solidFill>
                <a:latin typeface="+mn-lt"/>
              </a:rPr>
              <a:t>/ </a:t>
            </a:r>
            <a:r>
              <a:rPr lang="de-DE" dirty="0" err="1">
                <a:solidFill>
                  <a:schemeClr val="accent1"/>
                </a:solidFill>
                <a:latin typeface="+mn-lt"/>
              </a:rPr>
              <a:t>data</a:t>
            </a:r>
            <a:r>
              <a:rPr lang="de-DE" dirty="0">
                <a:solidFill>
                  <a:schemeClr val="accent1"/>
                </a:solidFill>
                <a:latin typeface="+mn-lt"/>
              </a:rPr>
              <a:t> </a:t>
            </a:r>
            <a:r>
              <a:rPr lang="de-DE" dirty="0" err="1">
                <a:solidFill>
                  <a:schemeClr val="accent1"/>
                </a:solidFill>
                <a:latin typeface="+mn-lt"/>
              </a:rPr>
              <a:t>modelling</a:t>
            </a:r>
            <a:r>
              <a:rPr lang="de-DE" dirty="0">
                <a:solidFill>
                  <a:schemeClr val="accent1"/>
                </a:solidFill>
                <a:latin typeface="+mn-lt"/>
              </a:rPr>
              <a:t> / </a:t>
            </a:r>
            <a:r>
              <a:rPr lang="de-DE" dirty="0" err="1">
                <a:solidFill>
                  <a:schemeClr val="accent1"/>
                </a:solidFill>
                <a:latin typeface="+mn-lt"/>
              </a:rPr>
              <a:t>Statistics</a:t>
            </a:r>
            <a:r>
              <a:rPr lang="de-DE" dirty="0">
                <a:solidFill>
                  <a:schemeClr val="accent1"/>
                </a:solidFill>
                <a:latin typeface="+mn-lt"/>
              </a:rPr>
              <a:t> / Databases </a:t>
            </a:r>
            <a:endParaRPr lang="en-US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2" name="Textplatzhalter 12">
            <a:extLst>
              <a:ext uri="{FF2B5EF4-FFF2-40B4-BE49-F238E27FC236}">
                <a16:creationId xmlns:a16="http://schemas.microsoft.com/office/drawing/2014/main" id="{4974FA15-4876-6A7F-A451-AA4B8A496A21}"/>
              </a:ext>
            </a:extLst>
          </p:cNvPr>
          <p:cNvSpPr txBox="1">
            <a:spLocks/>
          </p:cNvSpPr>
          <p:nvPr/>
        </p:nvSpPr>
        <p:spPr>
          <a:xfrm>
            <a:off x="6987129" y="3849556"/>
            <a:ext cx="4813818" cy="2569934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>
                <a:solidFill>
                  <a:srgbClr val="0F2DB3"/>
                </a:solidFill>
                <a:latin typeface="ZEISS Frutiger Next W1G"/>
                <a:ea typeface="+mn-ea"/>
                <a:cs typeface="ZEISS Frutiger Next W1G" panose="020B0503040204020203" pitchFamily="34" charset="0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accent1"/>
                </a:solidFill>
                <a:latin typeface="+mn-lt"/>
              </a:rPr>
              <a:t>Then -- Dr. Ben Hoyle</a:t>
            </a:r>
            <a:endParaRPr lang="de-DE" dirty="0">
              <a:solidFill>
                <a:schemeClr val="accent1"/>
              </a:solidFill>
              <a:latin typeface="+mn-lt"/>
            </a:endParaRPr>
          </a:p>
          <a:p>
            <a:r>
              <a:rPr lang="en-US" dirty="0">
                <a:solidFill>
                  <a:schemeClr val="accent1"/>
                </a:solidFill>
                <a:latin typeface="+mn-lt"/>
              </a:rPr>
              <a:t>PhD ICG Portsmouth Astro-statistics</a:t>
            </a:r>
          </a:p>
          <a:p>
            <a:r>
              <a:rPr lang="en-US" dirty="0">
                <a:solidFill>
                  <a:schemeClr val="accent1"/>
                </a:solidFill>
                <a:latin typeface="+mn-lt"/>
              </a:rPr>
              <a:t>Postdocs UK/ES/DE</a:t>
            </a:r>
          </a:p>
          <a:p>
            <a:r>
              <a:rPr lang="en-US" dirty="0">
                <a:solidFill>
                  <a:schemeClr val="accent1"/>
                </a:solidFill>
                <a:latin typeface="+mn-lt"/>
              </a:rPr>
              <a:t>Clusters of galaxies, correlation functions,</a:t>
            </a:r>
          </a:p>
          <a:p>
            <a:r>
              <a:rPr lang="en-US" dirty="0">
                <a:solidFill>
                  <a:schemeClr val="accent1"/>
                </a:solidFill>
                <a:latin typeface="+mn-lt"/>
              </a:rPr>
              <a:t>Machine learning, photometric redshifts</a:t>
            </a:r>
          </a:p>
          <a:p>
            <a:r>
              <a:rPr lang="en-US" dirty="0">
                <a:solidFill>
                  <a:schemeClr val="accent1"/>
                </a:solidFill>
                <a:latin typeface="+mn-lt"/>
              </a:rPr>
              <a:t>Biases in data! Doing new stuff with old data</a:t>
            </a:r>
          </a:p>
          <a:p>
            <a:r>
              <a:rPr lang="en-US" dirty="0">
                <a:solidFill>
                  <a:schemeClr val="accent1"/>
                </a:solidFill>
                <a:latin typeface="+mn-lt"/>
              </a:rPr>
              <a:t>SDSS/DES/Euclid/XXM/LOFAR/??</a:t>
            </a:r>
            <a:endParaRPr lang="de-DE" dirty="0">
              <a:solidFill>
                <a:schemeClr val="accent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5919981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0475DE-8AE2-4EC0-9C36-E9168CB4A3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A212BA6-A012-2E67-35BF-169491538501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849454A0-EBCC-4CD8-85B9-290E4583EC11}" type="datetime3">
              <a:rPr lang="en-US" noProof="0" smtClean="0"/>
              <a:t>4 June 2025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7FABBD2-3EED-D7D5-215E-BC7E9E2A89AD}"/>
              </a:ext>
            </a:extLst>
          </p:cNvPr>
          <p:cNvSpPr>
            <a:spLocks noGrp="1"/>
          </p:cNvSpPr>
          <p:nvPr>
            <p:ph type="ftr" sz="quarter" idx="65"/>
          </p:nvPr>
        </p:nvSpPr>
        <p:spPr/>
        <p:txBody>
          <a:bodyPr/>
          <a:lstStyle/>
          <a:p>
            <a:r>
              <a:rPr lang="en-US" noProof="0"/>
              <a:t>ZEIS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4359D3B-20CF-926D-8122-56785B80CE17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10</a:t>
            </a:fld>
            <a:endParaRPr lang="en-US" noProof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6B83FE7-2D00-3C48-A20C-374875BBBB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9" y="299633"/>
            <a:ext cx="9740106" cy="369332"/>
          </a:xfrm>
        </p:spPr>
        <p:txBody>
          <a:bodyPr/>
          <a:lstStyle/>
          <a:p>
            <a:r>
              <a:rPr lang="en-GB"/>
              <a:t>”Natural language VIBE coding”</a:t>
            </a:r>
            <a:endParaRPr lang="en-DE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6D878C6-E7B2-9DEE-81AD-CA75E39957EB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518319" y="642855"/>
            <a:ext cx="9740106" cy="369332"/>
          </a:xfrm>
        </p:spPr>
        <p:txBody>
          <a:bodyPr/>
          <a:lstStyle/>
          <a:p>
            <a:r>
              <a:rPr lang="en-DE" dirty="0"/>
              <a:t>ZEISS example Process tabular data *any-way* you define.</a:t>
            </a:r>
          </a:p>
        </p:txBody>
      </p:sp>
      <p:pic>
        <p:nvPicPr>
          <p:cNvPr id="10" name="modex-in-use">
            <a:hlinkClick r:id="" action="ppaction://media"/>
            <a:extLst>
              <a:ext uri="{FF2B5EF4-FFF2-40B4-BE49-F238E27FC236}">
                <a16:creationId xmlns:a16="http://schemas.microsoft.com/office/drawing/2014/main" id="{B5EFCDD0-B198-8CD0-20D0-AB8D9A9509E6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16197" y="1247306"/>
            <a:ext cx="11959605" cy="436338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5BF6A8B-D174-BFCC-4398-B817FFEE72F6}"/>
              </a:ext>
            </a:extLst>
          </p:cNvPr>
          <p:cNvSpPr txBox="1"/>
          <p:nvPr/>
        </p:nvSpPr>
        <p:spPr>
          <a:xfrm rot="2125221">
            <a:off x="9611534" y="957052"/>
            <a:ext cx="2780403" cy="413723"/>
          </a:xfrm>
          <a:prstGeom prst="rect">
            <a:avLst/>
          </a:prstGeom>
          <a:solidFill>
            <a:srgbClr val="FFC000">
              <a:alpha val="94000"/>
            </a:srgb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000" b="1" i="1"/>
              <a:t>Food for thought</a:t>
            </a:r>
            <a:endParaRPr lang="en-DE" sz="2000" i="1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29FA5DA-D81A-44B0-E140-E8A332780C2D}"/>
              </a:ext>
            </a:extLst>
          </p:cNvPr>
          <p:cNvSpPr txBox="1"/>
          <p:nvPr/>
        </p:nvSpPr>
        <p:spPr>
          <a:xfrm>
            <a:off x="518319" y="5968923"/>
            <a:ext cx="990082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-DE" sz="16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Astro example</a:t>
            </a:r>
            <a:r>
              <a:rPr kumimoji="0" lang="en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: re-write your crappy code! Add tests, documentation, refactor, add features. Rewrite from Fortran to Python! </a:t>
            </a:r>
          </a:p>
        </p:txBody>
      </p:sp>
    </p:spTree>
    <p:extLst>
      <p:ext uri="{BB962C8B-B14F-4D97-AF65-F5344CB8AC3E}">
        <p14:creationId xmlns:p14="http://schemas.microsoft.com/office/powerpoint/2010/main" val="2048039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10792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0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0"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49EF3C-840C-77F0-B5D6-A768684515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tree and a bench&#10;&#10;AI-generated content may be incorrect.">
            <a:extLst>
              <a:ext uri="{FF2B5EF4-FFF2-40B4-BE49-F238E27FC236}">
                <a16:creationId xmlns:a16="http://schemas.microsoft.com/office/drawing/2014/main" id="{83DE4CDB-8D97-C328-4A6A-19D06D5F2F5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3196" y="1163913"/>
            <a:ext cx="4782064" cy="1335616"/>
          </a:xfrm>
          <a:prstGeom prst="rect">
            <a:avLst/>
          </a:prstGeom>
        </p:spPr>
      </p:pic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BA103BC-C1BA-E162-38E5-32341690D2C3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849454A0-EBCC-4CD8-85B9-290E4583EC11}" type="datetime3">
              <a:rPr lang="en-US" noProof="0" smtClean="0"/>
              <a:t>4 June 2025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41D82BA-149B-62AD-1C7C-4C503DAF0A91}"/>
              </a:ext>
            </a:extLst>
          </p:cNvPr>
          <p:cNvSpPr>
            <a:spLocks noGrp="1"/>
          </p:cNvSpPr>
          <p:nvPr>
            <p:ph type="ftr" sz="quarter" idx="65"/>
          </p:nvPr>
        </p:nvSpPr>
        <p:spPr/>
        <p:txBody>
          <a:bodyPr/>
          <a:lstStyle/>
          <a:p>
            <a:r>
              <a:rPr lang="en-US" noProof="0"/>
              <a:t>ZEIS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F990343-532A-05C4-58F5-EEC639307C6F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11</a:t>
            </a:fld>
            <a:endParaRPr lang="en-US" noProof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BE45B0A-B735-7C48-5967-BE27DBF040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9" y="299633"/>
            <a:ext cx="9740106" cy="369332"/>
          </a:xfrm>
        </p:spPr>
        <p:txBody>
          <a:bodyPr/>
          <a:lstStyle/>
          <a:p>
            <a:r>
              <a:rPr lang="en-GB"/>
              <a:t>“Real Time Video Calls”</a:t>
            </a:r>
            <a:endParaRPr lang="en-DE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DB15765D-E927-A166-2045-4675D32CF125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518319" y="642855"/>
            <a:ext cx="9740106" cy="369332"/>
          </a:xfrm>
        </p:spPr>
        <p:txBody>
          <a:bodyPr/>
          <a:lstStyle/>
          <a:p>
            <a:r>
              <a:rPr lang="en-DE" dirty="0"/>
              <a:t>OpenAI’s ChatGPT video understanding is insane!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B6B7DDE-46FD-BF8F-B793-CDCE55FE7A23}"/>
              </a:ext>
            </a:extLst>
          </p:cNvPr>
          <p:cNvSpPr txBox="1"/>
          <p:nvPr/>
        </p:nvSpPr>
        <p:spPr>
          <a:xfrm rot="2125221">
            <a:off x="9611534" y="957052"/>
            <a:ext cx="2780403" cy="413723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000" b="1" i="1"/>
              <a:t>Food for thought</a:t>
            </a:r>
            <a:endParaRPr lang="en-DE" sz="2000" b="1" i="1"/>
          </a:p>
        </p:txBody>
      </p:sp>
      <p:pic>
        <p:nvPicPr>
          <p:cNvPr id="3" name="Picture 2" descr="A screenshot of a phone&#10;&#10;AI-generated content may be incorrect.">
            <a:extLst>
              <a:ext uri="{FF2B5EF4-FFF2-40B4-BE49-F238E27FC236}">
                <a16:creationId xmlns:a16="http://schemas.microsoft.com/office/drawing/2014/main" id="{A2BE5AEE-E90A-7D22-6CF1-FF0A2847B9F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9753" y="2745067"/>
            <a:ext cx="2175379" cy="4716269"/>
          </a:xfrm>
          <a:prstGeom prst="rect">
            <a:avLst/>
          </a:prstGeom>
        </p:spPr>
      </p:pic>
      <p:pic>
        <p:nvPicPr>
          <p:cNvPr id="12" name="Picture 11" descr="A screenshot of a video chat&#10;&#10;AI-generated content may be incorrect.">
            <a:extLst>
              <a:ext uri="{FF2B5EF4-FFF2-40B4-BE49-F238E27FC236}">
                <a16:creationId xmlns:a16="http://schemas.microsoft.com/office/drawing/2014/main" id="{D0C2D969-ECB1-9257-954E-59D44F0735D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8283" y="1915599"/>
            <a:ext cx="2282400" cy="4948291"/>
          </a:xfrm>
          <a:prstGeom prst="rect">
            <a:avLst/>
          </a:prstGeom>
        </p:spPr>
      </p:pic>
      <p:pic>
        <p:nvPicPr>
          <p:cNvPr id="16" name="Picture 15" descr="A screenshot of a phone&#10;&#10;AI-generated content may be incorrect.">
            <a:extLst>
              <a:ext uri="{FF2B5EF4-FFF2-40B4-BE49-F238E27FC236}">
                <a16:creationId xmlns:a16="http://schemas.microsoft.com/office/drawing/2014/main" id="{352B269C-F527-E9A9-88A8-B247BD91088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652" y="1377230"/>
            <a:ext cx="2160556" cy="4684132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94A79AD9-79B3-14F1-EFE4-A99248A5A006}"/>
              </a:ext>
            </a:extLst>
          </p:cNvPr>
          <p:cNvSpPr txBox="1"/>
          <p:nvPr/>
        </p:nvSpPr>
        <p:spPr>
          <a:xfrm>
            <a:off x="338542" y="1089696"/>
            <a:ext cx="5971186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B</a:t>
            </a:r>
            <a:r>
              <a:rPr kumimoji="0" lang="en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en was here: having a real time video call with his friend “ChatGPT”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D6FD067-044F-830D-11D2-7CEEEBCB45D1}"/>
              </a:ext>
            </a:extLst>
          </p:cNvPr>
          <p:cNvSpPr txBox="1"/>
          <p:nvPr/>
        </p:nvSpPr>
        <p:spPr>
          <a:xfrm>
            <a:off x="9326809" y="2621956"/>
            <a:ext cx="1829027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B</a:t>
            </a:r>
            <a:r>
              <a:rPr kumimoji="0" lang="en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en’s actual location!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2A15A92-E364-739F-CA19-52FE8211F72F}"/>
              </a:ext>
            </a:extLst>
          </p:cNvPr>
          <p:cNvSpPr txBox="1"/>
          <p:nvPr/>
        </p:nvSpPr>
        <p:spPr>
          <a:xfrm rot="2081810">
            <a:off x="9091169" y="1365863"/>
            <a:ext cx="3438442" cy="246221"/>
          </a:xfrm>
          <a:prstGeom prst="rect">
            <a:avLst/>
          </a:prstGeom>
          <a:solidFill>
            <a:srgbClr val="FFFF00"/>
          </a:solidFill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Ben also had it help him fix his bike!</a:t>
            </a:r>
            <a:endParaRPr kumimoji="0" lang="en-DE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E126C40-5CDC-958F-8EE5-B927943CE7FA}"/>
              </a:ext>
            </a:extLst>
          </p:cNvPr>
          <p:cNvSpPr txBox="1"/>
          <p:nvPr/>
        </p:nvSpPr>
        <p:spPr>
          <a:xfrm>
            <a:off x="4623197" y="1413426"/>
            <a:ext cx="1316066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Where’s Wally?</a:t>
            </a:r>
          </a:p>
        </p:txBody>
      </p:sp>
      <p:pic>
        <p:nvPicPr>
          <p:cNvPr id="4" name="Picture 3" descr="A map of a city&#10;&#10;AI-generated content may be incorrect.">
            <a:extLst>
              <a:ext uri="{FF2B5EF4-FFF2-40B4-BE49-F238E27FC236}">
                <a16:creationId xmlns:a16="http://schemas.microsoft.com/office/drawing/2014/main" id="{4123E74F-9B64-C26A-B69B-7BFC1700245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8897" y="2921301"/>
            <a:ext cx="4025592" cy="3889433"/>
          </a:xfrm>
          <a:prstGeom prst="rect">
            <a:avLst/>
          </a:prstGeom>
        </p:spPr>
      </p:pic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3F5216DC-AF5E-202A-4A8D-2136F5FABD7F}"/>
              </a:ext>
            </a:extLst>
          </p:cNvPr>
          <p:cNvCxnSpPr>
            <a:cxnSpLocks/>
          </p:cNvCxnSpPr>
          <p:nvPr/>
        </p:nvCxnSpPr>
        <p:spPr>
          <a:xfrm flipV="1">
            <a:off x="6096000" y="3723387"/>
            <a:ext cx="4323139" cy="1504395"/>
          </a:xfrm>
          <a:prstGeom prst="straightConnector1">
            <a:avLst/>
          </a:prstGeom>
          <a:ln w="146050">
            <a:solidFill>
              <a:schemeClr val="accent1">
                <a:alpha val="3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C5E86C4E-1BE2-11FF-C9C9-F219A60A8F88}"/>
              </a:ext>
            </a:extLst>
          </p:cNvPr>
          <p:cNvCxnSpPr>
            <a:cxnSpLocks/>
          </p:cNvCxnSpPr>
          <p:nvPr/>
        </p:nvCxnSpPr>
        <p:spPr>
          <a:xfrm>
            <a:off x="6650182" y="5308771"/>
            <a:ext cx="2783535" cy="721097"/>
          </a:xfrm>
          <a:prstGeom prst="straightConnector1">
            <a:avLst/>
          </a:prstGeom>
          <a:ln w="146050">
            <a:solidFill>
              <a:schemeClr val="accent1">
                <a:alpha val="3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E6391259-233D-3A4C-9DC6-807D70B7E223}"/>
              </a:ext>
            </a:extLst>
          </p:cNvPr>
          <p:cNvCxnSpPr>
            <a:cxnSpLocks/>
          </p:cNvCxnSpPr>
          <p:nvPr/>
        </p:nvCxnSpPr>
        <p:spPr>
          <a:xfrm>
            <a:off x="9748938" y="2851998"/>
            <a:ext cx="180253" cy="1978419"/>
          </a:xfrm>
          <a:prstGeom prst="straightConnector1">
            <a:avLst/>
          </a:prstGeom>
          <a:ln w="146050">
            <a:solidFill>
              <a:schemeClr val="accent1">
                <a:alpha val="3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FD8B4448-E97D-B937-9450-55E82E1C2DD8}"/>
              </a:ext>
            </a:extLst>
          </p:cNvPr>
          <p:cNvSpPr txBox="1"/>
          <p:nvPr/>
        </p:nvSpPr>
        <p:spPr>
          <a:xfrm rot="17902761">
            <a:off x="10150636" y="4263672"/>
            <a:ext cx="537006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-DE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13km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BD03E8C-B2DA-0CDB-4608-ED178F2F4524}"/>
              </a:ext>
            </a:extLst>
          </p:cNvPr>
          <p:cNvSpPr txBox="1"/>
          <p:nvPr/>
        </p:nvSpPr>
        <p:spPr>
          <a:xfrm>
            <a:off x="397652" y="6251381"/>
            <a:ext cx="217527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-GB" sz="16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A</a:t>
            </a:r>
            <a:r>
              <a:rPr kumimoji="0" lang="en-DE" sz="16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stro example</a:t>
            </a:r>
            <a:r>
              <a:rPr kumimoji="0" lang="en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: no idea!</a:t>
            </a:r>
          </a:p>
        </p:txBody>
      </p:sp>
    </p:spTree>
    <p:extLst>
      <p:ext uri="{BB962C8B-B14F-4D97-AF65-F5344CB8AC3E}">
        <p14:creationId xmlns:p14="http://schemas.microsoft.com/office/powerpoint/2010/main" val="3674527364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34BB90-9133-06D5-1D63-195002FB44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There is so much more!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D0BF482-A2CC-3EC2-756D-19E3F57A4E2B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en-DE" dirty="0"/>
              <a:t>Cost of compute &lt;50% every 6 months.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95EDF08-1E36-5217-D0E5-502310DF1A97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849454A0-EBCC-4CD8-85B9-290E4583EC11}" type="datetime3">
              <a:rPr lang="en-US" noProof="0" smtClean="0"/>
              <a:t>5 June 2025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F88C5B-19A6-EF45-C5A3-AED2F2D482D8}"/>
              </a:ext>
            </a:extLst>
          </p:cNvPr>
          <p:cNvSpPr>
            <a:spLocks noGrp="1"/>
          </p:cNvSpPr>
          <p:nvPr>
            <p:ph type="ftr" sz="quarter" idx="65"/>
          </p:nvPr>
        </p:nvSpPr>
        <p:spPr/>
        <p:txBody>
          <a:bodyPr/>
          <a:lstStyle/>
          <a:p>
            <a:r>
              <a:rPr lang="en-US" noProof="0"/>
              <a:t>ZEIS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422E2D-BE8F-D974-B7DF-3DC9081159E0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12</a:t>
            </a:fld>
            <a:endParaRPr lang="en-US" noProof="0"/>
          </a:p>
        </p:txBody>
      </p:sp>
      <p:pic>
        <p:nvPicPr>
          <p:cNvPr id="9" name="Picture 8" descr="A blue circle with white text&#10;&#10;AI-generated content may be incorrect.">
            <a:extLst>
              <a:ext uri="{FF2B5EF4-FFF2-40B4-BE49-F238E27FC236}">
                <a16:creationId xmlns:a16="http://schemas.microsoft.com/office/drawing/2014/main" id="{1B2CCFF1-D9F8-152A-C0FC-96D8432E901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9825" y="1540344"/>
            <a:ext cx="3427729" cy="2422164"/>
          </a:xfrm>
          <a:prstGeom prst="rect">
            <a:avLst/>
          </a:prstGeom>
        </p:spPr>
      </p:pic>
      <p:pic>
        <p:nvPicPr>
          <p:cNvPr id="11" name="Picture 10" descr="A screen shot of a graph&#10;&#10;AI-generated content may be incorrect.">
            <a:extLst>
              <a:ext uri="{FF2B5EF4-FFF2-40B4-BE49-F238E27FC236}">
                <a16:creationId xmlns:a16="http://schemas.microsoft.com/office/drawing/2014/main" id="{526EA55D-CB6C-31B6-7325-038F5C6CCE5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933" y="1587041"/>
            <a:ext cx="4918439" cy="2561687"/>
          </a:xfrm>
          <a:prstGeom prst="rect">
            <a:avLst/>
          </a:prstGeom>
        </p:spPr>
      </p:pic>
      <p:pic>
        <p:nvPicPr>
          <p:cNvPr id="13" name="Picture 12" descr="A screen shot of a computer&#10;&#10;AI-generated content may be incorrect.">
            <a:extLst>
              <a:ext uri="{FF2B5EF4-FFF2-40B4-BE49-F238E27FC236}">
                <a16:creationId xmlns:a16="http://schemas.microsoft.com/office/drawing/2014/main" id="{B890CFBE-91EC-DE0A-EE43-77E4B54746B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933" y="4204497"/>
            <a:ext cx="4918439" cy="2507757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03A811B3-93DC-EC4B-BF1C-68DA1738A625}"/>
              </a:ext>
            </a:extLst>
          </p:cNvPr>
          <p:cNvSpPr txBox="1"/>
          <p:nvPr/>
        </p:nvSpPr>
        <p:spPr>
          <a:xfrm>
            <a:off x="533365" y="1232567"/>
            <a:ext cx="1457130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-DE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Alpha fold 3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C4056F0-376D-0C5E-8512-8249B682B209}"/>
              </a:ext>
            </a:extLst>
          </p:cNvPr>
          <p:cNvSpPr txBox="1"/>
          <p:nvPr/>
        </p:nvSpPr>
        <p:spPr>
          <a:xfrm>
            <a:off x="7279825" y="1232567"/>
            <a:ext cx="3662862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-DE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GNoME – Crystalline structure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AD9AB49-3268-BC58-960C-5AFF6D526529}"/>
              </a:ext>
            </a:extLst>
          </p:cNvPr>
          <p:cNvSpPr txBox="1"/>
          <p:nvPr/>
        </p:nvSpPr>
        <p:spPr>
          <a:xfrm>
            <a:off x="6803630" y="4029507"/>
            <a:ext cx="5350212" cy="17440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sz="2000" b="1" dirty="0">
                <a:solidFill>
                  <a:srgbClr val="000000"/>
                </a:solidFill>
                <a:latin typeface="ZEISS Frutiger Next W1G"/>
              </a:rPr>
              <a:t>o4-mini/o3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-DE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Field level medalist level mathematic reasoning &amp; problem solving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Oh! And the [</a:t>
            </a:r>
            <a:r>
              <a:rPr lang="en-GB" sz="2000" b="1" dirty="0">
                <a:solidFill>
                  <a:srgbClr val="000000"/>
                </a:solidFill>
                <a:latin typeface="ZEISS Frutiger Next W1G"/>
              </a:rPr>
              <a:t>~] </a:t>
            </a: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best coder on the planet</a:t>
            </a:r>
            <a:r>
              <a:rPr lang="en-DE" sz="2000" b="1" dirty="0">
                <a:solidFill>
                  <a:srgbClr val="000000"/>
                </a:solidFill>
                <a:latin typeface="ZEISS Frutiger Next W1G"/>
              </a:rPr>
              <a:t>. – c.f. CODEX</a:t>
            </a:r>
            <a:endParaRPr kumimoji="0" lang="en-DE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4157851-91D3-F3BB-051D-7FF47CB4E2F2}"/>
              </a:ext>
            </a:extLst>
          </p:cNvPr>
          <p:cNvSpPr txBox="1"/>
          <p:nvPr/>
        </p:nvSpPr>
        <p:spPr>
          <a:xfrm>
            <a:off x="6757626" y="5984376"/>
            <a:ext cx="4918437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-DE" sz="16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Astro Example: </a:t>
            </a:r>
            <a:r>
              <a:rPr kumimoji="0" lang="en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Give it your paper /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I</a:t>
            </a:r>
            <a:r>
              <a:rPr kumimoji="0" lang="en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dea and have it critique it, and do a literature search!</a:t>
            </a:r>
          </a:p>
        </p:txBody>
      </p:sp>
    </p:spTree>
    <p:extLst>
      <p:ext uri="{BB962C8B-B14F-4D97-AF65-F5344CB8AC3E}">
        <p14:creationId xmlns:p14="http://schemas.microsoft.com/office/powerpoint/2010/main" val="342205258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BF5078-CA4B-AFE5-DFE0-8A64298E82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7969486-1E45-F0FD-C1F4-1890BE84825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66FB7FC-1AE8-7DD7-0162-DC1B2F97F643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F4B2A8C-63EE-2FAF-EBB6-6FB0F74C244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58A3063-26D5-BED2-8CF0-7E46EF0DFA8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4FF49C5-7BF1-ACE4-B7A6-3E96B829EAA7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CEEED8F-1285-1241-952F-217CB14A8AE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B7E28EB-2976-D788-AEC6-7CA2FB9F0C14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5EAE9E0-BB21-1817-0471-7C9C4465072C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63E4E5D-A424-19B9-D3E0-4FD27D281CC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solidFill>
            <a:schemeClr val="bg1"/>
          </a:solidFill>
        </p:spPr>
        <p:txBody>
          <a:bodyPr/>
          <a:lstStyle/>
          <a:p>
            <a:endParaRPr lang="en-DE" dirty="0">
              <a:solidFill>
                <a:srgbClr val="0F2DB3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5134612-1488-A645-309F-BAF6C127ACA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B808B9F-6053-22DC-BEA9-FDA8BD17899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4283DDB-F41A-280C-F0C5-2070B312BD5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B34A808-0416-FE5F-1BFA-C43071B6422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44DEF41-ED82-7052-2E06-6BB7B4A0D3B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2782799C-3BB8-D237-B43A-F0CF6AF364CB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solidFill>
            <a:schemeClr val="accent1">
              <a:lumMod val="40000"/>
              <a:lumOff val="60000"/>
            </a:schemeClr>
          </a:solidFill>
        </p:spPr>
        <p:txBody>
          <a:bodyPr/>
          <a:lstStyle/>
          <a:p>
            <a:endParaRPr lang="en-DE" dirty="0"/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A0FA1956-F0FD-3DC2-E089-777775F7B8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528C3C5A-F7B5-6D75-9105-83AB7120C7EB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D9E6C7B9-9861-E7BE-8005-09477038A6F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DE" dirty="0">
                <a:solidFill>
                  <a:schemeClr val="tx1"/>
                </a:solidFill>
              </a:rPr>
              <a:t>GenAI and why you should care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87854E34-F89C-8E4D-C1B6-7879E644AA4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DF25C282-B30B-99E3-8276-7E89633B031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0CBC09C5-8975-DAE7-C0B7-ADB901EDBDD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DE" dirty="0"/>
              <a:t>Conclusions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44B1C9E-6EF1-DA63-D0EA-9619CA802E2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en-DE" dirty="0"/>
              <a:t>Preparing the  ZEISS workforc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61FEFA47-6984-239E-DE52-4C0F450325D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DE" dirty="0"/>
              <a:t>Why work for a company like ZEISS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85459158-5D32-8CA1-7F6F-135F3A5B13DC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/>
        <p:txBody>
          <a:bodyPr/>
          <a:lstStyle/>
          <a:p>
            <a:r>
              <a:rPr lang="en-DE" dirty="0"/>
              <a:t>H</a:t>
            </a:r>
            <a:r>
              <a:rPr lang="en-GB" dirty="0"/>
              <a:t>o</a:t>
            </a:r>
            <a:r>
              <a:rPr lang="en-DE" dirty="0"/>
              <a:t>w to prepare yourself now for a potential future transistion</a:t>
            </a:r>
          </a:p>
        </p:txBody>
      </p:sp>
      <p:sp>
        <p:nvSpPr>
          <p:cNvPr id="26" name="Date Placeholder 25">
            <a:extLst>
              <a:ext uri="{FF2B5EF4-FFF2-40B4-BE49-F238E27FC236}">
                <a16:creationId xmlns:a16="http://schemas.microsoft.com/office/drawing/2014/main" id="{C56A38A5-A1D1-DEA6-8A4D-51C454F7581A}"/>
              </a:ext>
            </a:extLst>
          </p:cNvPr>
          <p:cNvSpPr>
            <a:spLocks noGrp="1"/>
          </p:cNvSpPr>
          <p:nvPr>
            <p:ph type="dt" sz="half" idx="42"/>
          </p:nvPr>
        </p:nvSpPr>
        <p:spPr/>
        <p:txBody>
          <a:bodyPr/>
          <a:lstStyle/>
          <a:p>
            <a:fld id="{A86A96C2-6B2C-4C35-A9F7-380F5F2578D4}" type="datetime3">
              <a:rPr lang="en-US" noProof="0" smtClean="0"/>
              <a:t>6 June 2025</a:t>
            </a:fld>
            <a:endParaRPr lang="en-US" noProof="0" dirty="0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229316AB-A5F5-1365-47E8-900565481DFD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4DE96A58-9500-ED1A-EFF9-59760ACF697D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8D667888-1BA8-78F7-331A-E65BA32D4D0F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4DCF56D2-833C-C175-8393-0A0D74DE2D54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A4657B-F480-706C-FE64-4769221FE8A6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6EDD9A66-C42A-B546-DBCF-928F5C51F242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CEC2A2A1-85A3-E144-5D02-350B06E98E50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3BD68B3B-FA47-E4EE-94C2-E9E962915809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A8D876C0-9AB9-5AC1-C100-1C4802235D10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8F7306DF-EDC8-3F04-2BAF-DAC8DB6CE9C0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F16F9E17-DE4F-61EC-83A3-ED4DC923E299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B7EC5CE6-F820-B7A9-F61B-40FB66425EE3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FAE4826D-68DA-7EC5-AA26-BD58D8DBB862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62BE17B7-8902-84D4-2409-60C4DBA02BF3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9267365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CD15B4-115A-A828-91D7-306D741854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8C07C9-046E-5513-2FD5-142A391B94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/>
              <a:t>Why work for a company like ZEISS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E640AB6-A103-E5B7-2524-D52861701147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D01041-4740-9CFB-C1B5-66903A7EDDAB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516000" y="1196999"/>
            <a:ext cx="11142600" cy="5361367"/>
          </a:xfrm>
        </p:spPr>
        <p:txBody>
          <a:bodyPr/>
          <a:lstStyle/>
          <a:p>
            <a:r>
              <a:rPr lang="en-GB" dirty="0"/>
              <a:t>Generative AI will change jobs:</a:t>
            </a:r>
          </a:p>
          <a:p>
            <a:r>
              <a:rPr lang="en-GB" dirty="0"/>
              <a:t>	Find companies who protect their employees (Workers council in DE, Strong Trade Union presence)</a:t>
            </a:r>
          </a:p>
          <a:p>
            <a:r>
              <a:rPr lang="en-GB" dirty="0"/>
              <a:t>	Find companies who have ”technical expert progression paths” Expert ladder (</a:t>
            </a:r>
            <a:r>
              <a:rPr lang="en-GB" dirty="0" err="1"/>
              <a:t>Fachlaufbahn</a:t>
            </a:r>
            <a:r>
              <a:rPr lang="en-GB" dirty="0"/>
              <a:t>) e.g. Siemens/Bosch/ZEISS</a:t>
            </a:r>
          </a:p>
          <a:p>
            <a:r>
              <a:rPr lang="en-GB" dirty="0"/>
              <a:t>	Find companies which are owned by foundations, or employee owned, not share holder owned…. * -best guess</a:t>
            </a:r>
          </a:p>
          <a:p>
            <a:r>
              <a:rPr lang="en-GB" dirty="0"/>
              <a:t>	Find companies who want to adopt new technology early on, and invest in tech. 10% of ZEISS $$$ -&gt; </a:t>
            </a:r>
            <a:r>
              <a:rPr lang="en-GB" dirty="0" err="1"/>
              <a:t>RnD</a:t>
            </a:r>
            <a:endParaRPr lang="en-GB" dirty="0"/>
          </a:p>
          <a:p>
            <a:endParaRPr lang="en-GB" dirty="0"/>
          </a:p>
          <a:p>
            <a:r>
              <a:rPr lang="en-GB" dirty="0"/>
              <a:t>	</a:t>
            </a:r>
          </a:p>
          <a:p>
            <a:endParaRPr lang="en-GB" dirty="0"/>
          </a:p>
          <a:p>
            <a:r>
              <a:rPr lang="en-GB" dirty="0"/>
              <a:t>	</a:t>
            </a:r>
            <a:endParaRPr lang="en-DE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EC24C83-1236-EA65-6934-FA962AAD8AC1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5F34CB99-436C-44DD-A00F-4552AD08113A}" type="datetime3">
              <a:rPr lang="en-US" noProof="0" smtClean="0"/>
              <a:t>5 June 2025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40590585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782E0B-70C9-BC08-34C8-DBBB0F8A4B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E2C892-67A9-1E97-6B68-64C41E3B4D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9" y="299633"/>
            <a:ext cx="9740106" cy="369332"/>
          </a:xfrm>
        </p:spPr>
        <p:txBody>
          <a:bodyPr/>
          <a:lstStyle/>
          <a:p>
            <a:r>
              <a:rPr lang="en-GB" b="1" dirty="0"/>
              <a:t>How do you prepare yourself for transitioning into Industry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212951-BD2B-8A14-45E2-A040B269F759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F11358A-9C9D-F71B-B6F6-84FAD4AF7C06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518319" y="1274682"/>
            <a:ext cx="11160000" cy="4464000"/>
          </a:xfrm>
        </p:spPr>
        <p:txBody>
          <a:bodyPr/>
          <a:lstStyle/>
          <a:p>
            <a:r>
              <a:rPr lang="en-GB" b="1" dirty="0"/>
              <a:t>Lack of Jobs at the top ==&gt; likely to have to leave academia at some point. </a:t>
            </a:r>
          </a:p>
          <a:p>
            <a:endParaRPr lang="en-GB" b="1" dirty="0"/>
          </a:p>
          <a:p>
            <a:r>
              <a:rPr lang="en-GB" b="1" dirty="0"/>
              <a:t>Prepare yourself with tools/knowledge that will be useful both inside and outside of academia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GB" b="1" dirty="0"/>
              <a:t>	Python! Go, other useful programming languages [COBOLT!!] and SOTA algorithms.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GB" b="1" dirty="0"/>
              <a:t>	Write better code! GenAI can help train you.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GB" b="1" dirty="0"/>
              <a:t>	Use as much AI (ML) in your day-to-day work as possible.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GB" b="1" dirty="0"/>
              <a:t>	Adopt and be a heavy user of GenAI. Think how you can use it in novel ways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GB" b="1" dirty="0"/>
              <a:t>	Stay up to date on newest changes in tech.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GB" b="1" dirty="0"/>
              <a:t>	Improve your presentation skills (you are a salesman!)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GB" b="1" dirty="0"/>
              <a:t>	Network: Meet ups, hackathons, LinkedIn!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GB" b="1" dirty="0"/>
              <a:t>       Check job websites, see what cool jobs might be interesting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en-GB" b="1" dirty="0"/>
              <a:t>         -&gt; ask GPT what skills are needed for those roles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en-GB" b="1" dirty="0"/>
              <a:t>         -&gt; start upskilling</a:t>
            </a:r>
          </a:p>
          <a:p>
            <a:r>
              <a:rPr lang="en-GB" b="1" dirty="0"/>
              <a:t>	</a:t>
            </a:r>
          </a:p>
          <a:p>
            <a:r>
              <a:rPr lang="en-GB" b="1" dirty="0"/>
              <a:t>The future is bright! You are smart! You will find a nice job, in a nice company and be valued for your intelligence, and contributions</a:t>
            </a:r>
          </a:p>
          <a:p>
            <a:endParaRPr lang="en-DE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E30C857-DD30-0EA5-258E-6B7B03F98A19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5F34CB99-436C-44DD-A00F-4552AD08113A}" type="datetime3">
              <a:rPr lang="en-US" noProof="0" smtClean="0"/>
              <a:t>4 June 2025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51814449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D01FF1-0272-A0C3-17AD-676F23B2B4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E102F77-FA7D-7609-C9EF-1682AA42A4B6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7D4A2A-7D0A-2702-ABE0-2255F52AEA0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63A05B3-1A23-95CF-66B1-77A04D215447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B4DCEB0-2478-CB29-F3B7-5B089B978A6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9107D77-9826-F43F-98C9-A712178C792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38848AF-99B4-8B60-5D99-F42E1D287CB5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70F2038-4D25-B571-9B5B-2F60A6962201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EA74BA6-E499-47FA-5C6E-05CB103AB250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FCCC825-7316-33FF-EEB7-A4ACDCB258A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solidFill>
            <a:schemeClr val="bg1"/>
          </a:solidFill>
        </p:spPr>
        <p:txBody>
          <a:bodyPr/>
          <a:lstStyle/>
          <a:p>
            <a:endParaRPr lang="en-DE" dirty="0">
              <a:solidFill>
                <a:srgbClr val="0F2DB3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83D268-5FFD-A045-6356-7FAE0B3DF0A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5CB586C-221B-A394-B6C6-3F5A8D275E2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solidFill>
            <a:schemeClr val="accent1">
              <a:lumMod val="20000"/>
              <a:lumOff val="80000"/>
            </a:schemeClr>
          </a:solidFill>
        </p:spPr>
        <p:txBody>
          <a:bodyPr/>
          <a:lstStyle/>
          <a:p>
            <a:endParaRPr lang="en-DE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83CF173-3A95-AB8F-8868-CE7BC6B00A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98A4506-8B79-263E-F62E-DF617BB6A47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D093BD2-B06D-4D51-0659-57893BC4832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CC5C994B-C6E8-70C4-FF0F-6C3AA2042490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solidFill>
            <a:schemeClr val="bg1"/>
          </a:solidFill>
        </p:spPr>
        <p:txBody>
          <a:bodyPr/>
          <a:lstStyle/>
          <a:p>
            <a:endParaRPr lang="en-DE" dirty="0"/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CAB9908A-22A3-C914-E18B-8285F2D59C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96246208-6282-91AF-3C98-F3AC6D25D2E2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9A679D7B-D17F-6EA3-656D-69F82A94A0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DE" dirty="0">
                <a:solidFill>
                  <a:schemeClr val="tx1"/>
                </a:solidFill>
              </a:rPr>
              <a:t>GenAI and why you should care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B84A3ED-ED48-4688-1330-46EEE88397E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B398FDF-972D-997E-53A6-13C10B8D084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F9679929-982A-D674-A0A6-432CC49E0CA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DE" dirty="0"/>
              <a:t>Conclusions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85AFD50-65E7-4942-8B70-CD951E64CFA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en-DE" dirty="0"/>
              <a:t>Preparing the  ZEISS workforc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A0E467CC-232F-3ECC-BC07-FDDA88D1B90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DE" dirty="0"/>
              <a:t>Why work for a company like ZEISS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757CF61A-7DB8-818A-7480-F2F3E2DE0141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/>
        <p:txBody>
          <a:bodyPr/>
          <a:lstStyle/>
          <a:p>
            <a:r>
              <a:rPr lang="en-DE" dirty="0"/>
              <a:t>H</a:t>
            </a:r>
            <a:r>
              <a:rPr lang="en-GB" dirty="0"/>
              <a:t>o</a:t>
            </a:r>
            <a:r>
              <a:rPr lang="en-DE" dirty="0"/>
              <a:t>w to prepare yourself now for a potential future transistion</a:t>
            </a:r>
          </a:p>
        </p:txBody>
      </p:sp>
      <p:sp>
        <p:nvSpPr>
          <p:cNvPr id="26" name="Date Placeholder 25">
            <a:extLst>
              <a:ext uri="{FF2B5EF4-FFF2-40B4-BE49-F238E27FC236}">
                <a16:creationId xmlns:a16="http://schemas.microsoft.com/office/drawing/2014/main" id="{F512A0F5-3E53-997A-514C-F01C51E9E0CD}"/>
              </a:ext>
            </a:extLst>
          </p:cNvPr>
          <p:cNvSpPr>
            <a:spLocks noGrp="1"/>
          </p:cNvSpPr>
          <p:nvPr>
            <p:ph type="dt" sz="half" idx="42"/>
          </p:nvPr>
        </p:nvSpPr>
        <p:spPr/>
        <p:txBody>
          <a:bodyPr/>
          <a:lstStyle/>
          <a:p>
            <a:fld id="{A86A96C2-6B2C-4C35-A9F7-380F5F2578D4}" type="datetime3">
              <a:rPr lang="en-US" noProof="0" smtClean="0"/>
              <a:t>6 June 2025</a:t>
            </a:fld>
            <a:endParaRPr lang="en-US" noProof="0" dirty="0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97BBBB79-A6B5-262B-8E35-77A359058440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EA48543B-9F20-803C-5D49-F48595FB1042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498CA1C-B282-1F7D-0649-95B20E9AE41B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C9BDA8DF-56DB-7480-C20B-F32B4A8427A7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FF065BAC-27A7-89AF-452E-E4A9282C0D9A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15B1566D-E9A9-08ED-AA6B-B5CFDFF1599D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6A14296E-50E9-079B-4BD4-598C64D14813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4324429F-D83E-3CDB-6DBC-128CAC7717D5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C87ED018-7EB3-9276-3107-FEE609F2F552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F4DFCD82-2888-57AF-0811-4B67B0664258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E98DE03C-3EC2-6D9C-0483-B4D8E3EF779D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53EFA66E-8FE1-C524-EFD4-3DEAC6BB900A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20D264A1-0586-43CA-C14B-69EE9FB04051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BF74F5AC-8762-F47F-D887-8009B5BEBB53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07955025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3333B3-0BF4-1C4B-A313-F88028A7FC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E95273-8739-033F-5832-DCB3997309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How are we upskilling the ZEISS workforc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0417C87-BDBC-B331-93E7-A61051B02135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en-DE" dirty="0"/>
              <a:t>45k employees, globally. Scared of GenAI -- and change ;)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4BF79C8-B3FD-69E0-5C5B-0CDB48846734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516000" y="1126716"/>
            <a:ext cx="11192780" cy="556090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dirty="0"/>
              <a:t>We have grown an internal [Teams] Slack channel/community with 10% (</a:t>
            </a:r>
            <a:r>
              <a:rPr lang="en-GB" dirty="0"/>
              <a:t>4,500+) of employees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GB" dirty="0"/>
              <a:t>Monthly update meetings (recorded for all time Zones) of the workforce interested in staying up to date on GenAI </a:t>
            </a:r>
            <a:r>
              <a:rPr lang="en-GB" dirty="0" err="1"/>
              <a:t>activites</a:t>
            </a:r>
            <a:r>
              <a:rPr lang="en-GB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dirty="0"/>
              <a:t>Secure ChatGPT interface used ~150k times a wee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dirty="0"/>
              <a:t>GPTs-like assistant builder used to create 5k assistants, by &gt;1k employe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dirty="0"/>
              <a:t>RAG type chatbots, embedded in existing workflows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GB" b="1" dirty="0"/>
              <a:t>-- every man and their dogs wants thi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dirty="0"/>
              <a:t>Employee guidelines for compliant usag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dirty="0"/>
              <a:t>Assigned/optional Learning courses:</a:t>
            </a:r>
            <a:endParaRPr lang="en-GB" dirty="0"/>
          </a:p>
          <a:p>
            <a:pPr lvl="2"/>
            <a:r>
              <a:rPr lang="en-GB" dirty="0"/>
              <a:t>Prompt engineering, beginner, mid, advanced courses </a:t>
            </a:r>
          </a:p>
          <a:p>
            <a:pPr lvl="2"/>
            <a:r>
              <a:rPr lang="en-GB" b="1" dirty="0"/>
              <a:t>Tool landscape </a:t>
            </a:r>
          </a:p>
          <a:p>
            <a:pPr lvl="2"/>
            <a:r>
              <a:rPr lang="en-GB" b="1" dirty="0"/>
              <a:t>Natural language coding</a:t>
            </a:r>
          </a:p>
          <a:p>
            <a:pPr lvl="2"/>
            <a:endParaRPr lang="en-GB" b="1" dirty="0"/>
          </a:p>
          <a:p>
            <a:pPr lvl="1"/>
            <a:r>
              <a:rPr lang="en-GB" b="1" dirty="0"/>
              <a:t>Brining new tools to the company in a complaint way.</a:t>
            </a:r>
          </a:p>
          <a:p>
            <a:pPr lvl="1"/>
            <a:r>
              <a:rPr lang="en-GB" b="1" dirty="0"/>
              <a:t>Sharing API keys to enable programmatic access to </a:t>
            </a:r>
            <a:r>
              <a:rPr lang="en-GB" b="1" dirty="0" err="1"/>
              <a:t>devs</a:t>
            </a:r>
            <a:endParaRPr lang="en-GB" b="1" dirty="0"/>
          </a:p>
          <a:p>
            <a:endParaRPr lang="en-DE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FE1B26B-C594-1DE3-DC8F-FD4940B18280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5F34CB99-436C-44DD-A00F-4552AD08113A}" type="datetime3">
              <a:rPr lang="en-US" noProof="0" smtClean="0"/>
              <a:t>4 June 2025</a:t>
            </a:fld>
            <a:endParaRPr lang="en-US" noProof="0"/>
          </a:p>
        </p:txBody>
      </p:sp>
      <p:pic>
        <p:nvPicPr>
          <p:cNvPr id="7" name="Picture 6" descr="A screenshot of a graph&#10;&#10;AI-generated content may be incorrect.">
            <a:extLst>
              <a:ext uri="{FF2B5EF4-FFF2-40B4-BE49-F238E27FC236}">
                <a16:creationId xmlns:a16="http://schemas.microsoft.com/office/drawing/2014/main" id="{F3FAAFE7-11F7-44D7-1CB4-FED510D9BAC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7955" y="3429000"/>
            <a:ext cx="4400825" cy="302829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59646697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E834A9-F53B-2C96-4AA0-F45E4E445E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5CFFB8E-FE95-478D-D2D5-CAE72344BA3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6B80102-E48D-C879-BABD-87E41F2AEA1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513DC3-90D9-EC77-17AC-F66963418A8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E538611-655D-DF7E-727E-87CEC0ED0E0E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9E48175-454F-8380-9763-155EA5270E44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4DCE774-6958-072A-2678-BC25BC78FB62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ADE9372-DC44-C91E-42BF-B93CF4E3462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9EE747F-32C9-08B7-4C3C-DB1B8BD3F98E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111F920-5CE3-FF85-E9E0-C3D4DAABE6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solidFill>
            <a:schemeClr val="bg1"/>
          </a:solidFill>
        </p:spPr>
        <p:txBody>
          <a:bodyPr/>
          <a:lstStyle/>
          <a:p>
            <a:endParaRPr lang="en-DE" dirty="0">
              <a:solidFill>
                <a:srgbClr val="0F2DB3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B9FF7AC-0865-A1C0-482E-6B2EE07E657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D037D65-3D3F-77B7-DBE8-0B41328393F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E1042F2-F5F5-6285-4D23-FCCD4A1FB6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solidFill>
            <a:schemeClr val="accent1">
              <a:lumMod val="20000"/>
              <a:lumOff val="80000"/>
            </a:schemeClr>
          </a:solidFill>
        </p:spPr>
        <p:txBody>
          <a:bodyPr/>
          <a:lstStyle/>
          <a:p>
            <a:endParaRPr lang="en-DE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B4C6A02F-0F78-AEC3-12C7-CF76E4BE9A7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0D9E879-9FED-29CF-6166-442EAF7AAC7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99D3D35-E9B9-7E45-9E6F-A1B7F549FA7A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solidFill>
            <a:schemeClr val="bg1"/>
          </a:solidFill>
        </p:spPr>
        <p:txBody>
          <a:bodyPr/>
          <a:lstStyle/>
          <a:p>
            <a:endParaRPr lang="en-DE" dirty="0"/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77C5A861-3BA3-57E9-2950-426FC73137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A4D412-07FC-861A-04FA-1AE7BA33456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561BF9A-D4B5-9A18-B7CF-58BEA117986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DE" dirty="0">
                <a:solidFill>
                  <a:schemeClr val="tx1"/>
                </a:solidFill>
              </a:rPr>
              <a:t>GenAI and why you should care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F20D32A-A041-C25A-0FD8-24A21C77DE9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DED3583D-6065-6037-065E-C72864256EF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1DA6445E-B4DD-5BC2-0730-FE514506E78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DE" dirty="0"/>
              <a:t>Conclusions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0A44E66D-059E-8989-0281-2DD51539C83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en-DE" dirty="0"/>
              <a:t>Preparing the  ZEISS workforc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83169DC8-9ED8-A253-4DF1-EF200632DCB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DE" dirty="0"/>
              <a:t>Why work for a company like ZEISS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283E36E6-8E6E-15DE-E44A-F5955222B0A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/>
        <p:txBody>
          <a:bodyPr/>
          <a:lstStyle/>
          <a:p>
            <a:r>
              <a:rPr lang="en-DE" dirty="0"/>
              <a:t>H</a:t>
            </a:r>
            <a:r>
              <a:rPr lang="en-GB" dirty="0"/>
              <a:t>o</a:t>
            </a:r>
            <a:r>
              <a:rPr lang="en-DE" dirty="0"/>
              <a:t>w to prepare yourself now for a potential future transistion</a:t>
            </a:r>
          </a:p>
        </p:txBody>
      </p:sp>
      <p:sp>
        <p:nvSpPr>
          <p:cNvPr id="26" name="Date Placeholder 25">
            <a:extLst>
              <a:ext uri="{FF2B5EF4-FFF2-40B4-BE49-F238E27FC236}">
                <a16:creationId xmlns:a16="http://schemas.microsoft.com/office/drawing/2014/main" id="{004FF749-CB09-3C5C-C0FF-ABC608C64872}"/>
              </a:ext>
            </a:extLst>
          </p:cNvPr>
          <p:cNvSpPr>
            <a:spLocks noGrp="1"/>
          </p:cNvSpPr>
          <p:nvPr>
            <p:ph type="dt" sz="half" idx="42"/>
          </p:nvPr>
        </p:nvSpPr>
        <p:spPr/>
        <p:txBody>
          <a:bodyPr/>
          <a:lstStyle/>
          <a:p>
            <a:fld id="{A86A96C2-6B2C-4C35-A9F7-380F5F2578D4}" type="datetime3">
              <a:rPr lang="en-US" noProof="0" smtClean="0"/>
              <a:t>6 June 2025</a:t>
            </a:fld>
            <a:endParaRPr lang="en-US" noProof="0" dirty="0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F458AF46-F608-D8C8-A854-41DD777B58C0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0DE99B57-9956-F6C0-5C14-C183D4272FCE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1040C0A8-F96F-DA2E-62FD-FC61CF6A4E60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C0DD73F7-C352-B746-5AD9-761E437FB062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0F32570-E2F2-20D4-795E-F22FFAFEC294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649546ED-5EA0-AF3D-891C-880E57018435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AF3974EE-C199-B384-BBA5-85827F29B263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5A7D71F3-886A-1323-076B-580816300781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522375C1-6461-7476-ED1C-EA7909F6191C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7F09EC41-E029-6DA8-6551-24BB1CC208B6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DA62BF32-FF91-96BE-F9C9-BF123DF5752B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2DBEC67A-7EEE-5F4F-2858-81F60638A738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1FD4C9A5-12CB-08FA-95AD-7A474BCE96DE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B25ECC1D-26E6-680F-E55F-9BBC111FE66F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87464767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8E6D87-EC08-219B-D7F0-F6B0F77C43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61C8E6-D905-7B91-411E-24DA24BDF6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Conclusions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901DF5-13E4-9E85-CA73-D443DB9E2575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C03A8C5-6A65-AC40-5000-DADB1722E837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5F34CB99-436C-44DD-A00F-4552AD08113A}" type="datetime3">
              <a:rPr lang="en-US" noProof="0" smtClean="0"/>
              <a:t>5 June 2025</a:t>
            </a:fld>
            <a:endParaRPr lang="en-US" noProof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6CD7FDF2-DC16-7484-1126-CD8753E34AA9}"/>
              </a:ext>
            </a:extLst>
          </p:cNvPr>
          <p:cNvSpPr txBox="1">
            <a:spLocks/>
          </p:cNvSpPr>
          <p:nvPr/>
        </p:nvSpPr>
        <p:spPr>
          <a:xfrm>
            <a:off x="518319" y="1197000"/>
            <a:ext cx="11949649" cy="3239076"/>
          </a:xfrm>
          <a:prstGeom prst="rect">
            <a:avLst/>
          </a:prstGeom>
        </p:spPr>
        <p:txBody>
          <a:bodyPr vert="horz" lIns="0" tIns="0" rIns="540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DE" dirty="0"/>
              <a:t>	”In the short term: GenAI will not replace experts. Experts who use GenAI will replace experts who don’t.”</a:t>
            </a:r>
          </a:p>
          <a:p>
            <a:pPr algn="ctr"/>
            <a:r>
              <a:rPr lang="en-DE" dirty="0"/>
              <a:t>-- </a:t>
            </a:r>
            <a:r>
              <a:rPr lang="en-US" dirty="0"/>
              <a:t>A bunch of people.</a:t>
            </a:r>
            <a:endParaRPr lang="en-DE" dirty="0"/>
          </a:p>
          <a:p>
            <a:endParaRPr lang="en-DE" dirty="0"/>
          </a:p>
          <a:p>
            <a:r>
              <a:rPr lang="en-DE" dirty="0"/>
              <a:t>	"GenAI improvements are accelerating in their frequency.  	</a:t>
            </a:r>
          </a:p>
          <a:p>
            <a:r>
              <a:rPr lang="en-DE" dirty="0"/>
              <a:t>	</a:t>
            </a:r>
            <a:r>
              <a:rPr lang="en-GB" dirty="0"/>
              <a:t>A</a:t>
            </a:r>
            <a:r>
              <a:rPr lang="en-DE" dirty="0"/>
              <a:t> few months is a long time and the landscape changes drastically. </a:t>
            </a:r>
          </a:p>
          <a:p>
            <a:r>
              <a:rPr lang="en-DE" dirty="0"/>
              <a:t>	Constantly update any prior you have about this tech.”  -- Ben</a:t>
            </a:r>
          </a:p>
          <a:p>
            <a:endParaRPr lang="en-DE" dirty="0"/>
          </a:p>
          <a:p>
            <a:r>
              <a:rPr lang="en-DE" dirty="0"/>
              <a:t>	Think [ask o3] about how cheap, available, intelligence will change the problems facing humans/companies/science. </a:t>
            </a:r>
          </a:p>
          <a:p>
            <a:r>
              <a:rPr lang="en-DE" dirty="0"/>
              <a:t>	Keep your arms tucked in, and ride that wave!</a:t>
            </a:r>
          </a:p>
        </p:txBody>
      </p:sp>
    </p:spTree>
    <p:extLst>
      <p:ext uri="{BB962C8B-B14F-4D97-AF65-F5344CB8AC3E}">
        <p14:creationId xmlns:p14="http://schemas.microsoft.com/office/powerpoint/2010/main" val="24462517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0263F70-BAC2-2911-AE17-F4E7A569AA58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017437-9E0B-ACFF-98D0-0F139A55530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AC3265-B238-3211-BE6D-C1E2407D184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B3A599B-8D31-CD81-9B7C-7E9EE87A8282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9BE7177-D282-267B-6FF9-C37957D1A425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F1EA583-9657-8923-1913-AE4C04F59C65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0F75DE5-C298-E7FC-193B-992FE7B2BAC8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004966B-A301-65D6-E9B1-99496C5BED8F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6DD43DB-6717-F510-45F3-8A805C171E7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7F6762F-AF05-9AAF-4069-0F035E7DBD2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165FF3B-38CB-2FED-F2F2-3708E25CFEA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F94706C0-60BF-E4C1-068D-3E7AE89CFC1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CD28C9A-4366-FC46-72E1-952769DDB06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AA71A9A-9FBC-8B71-BAB5-FF0FF9009AE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348B6224-6B81-C006-1743-6E65ACFF1FF5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56A31238-A3D2-FD20-A1EC-43B55A28E8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0F54A04C-1B9D-6E65-CE3A-B21701C019DE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0F07F4E6-ED98-684A-2A5E-1B04DBD44BE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DE" dirty="0"/>
              <a:t>GenAI and why you should care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2B1EA90-2EA2-E462-A971-659079BA7E6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39912FFC-2D26-66AB-28C2-8C7100D735A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E10F50F-605C-EE27-0666-4AEB34D0369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DE" dirty="0"/>
              <a:t>Conclusions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D536C520-C43B-10A4-0297-2BE37C78876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en-DE" dirty="0"/>
              <a:t>Preparing the ZEISS workforc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F7E32BB9-59D7-400A-8ECB-F5B56AB29CB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DE" dirty="0"/>
              <a:t>Why work for a company like ZEISS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B853836C-2355-CCED-E084-B0CA2156046A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/>
        <p:txBody>
          <a:bodyPr/>
          <a:lstStyle/>
          <a:p>
            <a:r>
              <a:rPr lang="en-DE" dirty="0"/>
              <a:t>H</a:t>
            </a:r>
            <a:r>
              <a:rPr lang="en-GB" dirty="0"/>
              <a:t>o</a:t>
            </a:r>
            <a:r>
              <a:rPr lang="en-DE" dirty="0"/>
              <a:t>w to prepare yourself now for a potential future transistion</a:t>
            </a:r>
          </a:p>
        </p:txBody>
      </p:sp>
      <p:sp>
        <p:nvSpPr>
          <p:cNvPr id="26" name="Date Placeholder 25">
            <a:extLst>
              <a:ext uri="{FF2B5EF4-FFF2-40B4-BE49-F238E27FC236}">
                <a16:creationId xmlns:a16="http://schemas.microsoft.com/office/drawing/2014/main" id="{684A88AB-9CE4-4570-7FD1-E6174890866C}"/>
              </a:ext>
            </a:extLst>
          </p:cNvPr>
          <p:cNvSpPr>
            <a:spLocks noGrp="1"/>
          </p:cNvSpPr>
          <p:nvPr>
            <p:ph type="dt" sz="half" idx="42"/>
          </p:nvPr>
        </p:nvSpPr>
        <p:spPr/>
        <p:txBody>
          <a:bodyPr/>
          <a:lstStyle/>
          <a:p>
            <a:fld id="{A86A96C2-6B2C-4C35-A9F7-380F5F2578D4}" type="datetime3">
              <a:rPr lang="en-US" noProof="0" smtClean="0"/>
              <a:t>4 June 2025</a:t>
            </a:fld>
            <a:endParaRPr lang="en-US" noProof="0" dirty="0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FF9A6DF0-4078-396B-1CE3-4D5FEAFC1A4E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55E5AEDC-EC85-C927-4CE1-D48052D90759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D24021B2-537A-7E84-0586-F1CEEAFFECC7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86517D7E-80B4-E88C-72A8-1C7586620BE7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B38AFCB8-C099-5B2E-E236-0EF111C41D79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35DAD8C-4E6E-DBA5-32C9-B13E3FC96A90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5188CEAF-CAD4-7746-11BD-C8A0C83C092D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408E9927-4DB1-B49A-A8E9-5ED776509275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BC04CAA8-88CF-7A99-EF44-17646F279D72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6A9C4946-456E-757D-D271-C6AB3383ADF1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F173D04C-7BCA-8FBC-4EEF-6B6F6095D333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B7DB31D5-2B8D-05C3-2F47-0F4687678D97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87170826-F86E-6120-DD82-D7EC7734E038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14EA5F1A-E64B-8E09-B003-C767B467E241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66857612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3662169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E07D5E-4409-32D0-95DD-F44EB07476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/>
              <a:t>Why GenAI at ZEISS?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EF6FEF-E733-0C15-A849-79FB7D0D3535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850EC09-AF10-EA0F-9554-3522838307B0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516000" y="1196999"/>
            <a:ext cx="11142600" cy="5361367"/>
          </a:xfrm>
        </p:spPr>
        <p:txBody>
          <a:bodyPr/>
          <a:lstStyle/>
          <a:p>
            <a:br>
              <a:rPr lang="en-GB" dirty="0"/>
            </a:br>
            <a:r>
              <a:rPr lang="en-GB" dirty="0"/>
              <a:t>Generative AI’s rapid evolution since 2022 has inspired new ways to innovate, collaborate, and work more effectively across ZEISS.</a:t>
            </a:r>
          </a:p>
          <a:p>
            <a:endParaRPr lang="en-GB" dirty="0"/>
          </a:p>
          <a:p>
            <a:r>
              <a:rPr lang="en-GB" b="1" dirty="0"/>
              <a:t>Our Response:</a:t>
            </a:r>
            <a:br>
              <a:rPr lang="en-GB" dirty="0"/>
            </a:br>
            <a:r>
              <a:rPr lang="en-GB" dirty="0"/>
              <a:t>A company-wide Knowledge Sharing initiative to unlock GenAI’s power for all employees—responsibly and securely.</a:t>
            </a:r>
          </a:p>
          <a:p>
            <a:endParaRPr lang="en-GB" dirty="0"/>
          </a:p>
          <a:p>
            <a:r>
              <a:rPr lang="en-GB" b="1" dirty="0"/>
              <a:t>Equip &amp; Empower:</a:t>
            </a:r>
            <a:br>
              <a:rPr lang="en-GB" dirty="0"/>
            </a:br>
            <a:r>
              <a:rPr lang="en-GB" dirty="0"/>
              <a:t>Demystifying GenAI with courses, workshops, </a:t>
            </a:r>
            <a:r>
              <a:rPr lang="en-GB" dirty="0" err="1"/>
              <a:t>Datathons</a:t>
            </a:r>
            <a:r>
              <a:rPr lang="en-GB" dirty="0"/>
              <a:t>, and hands-on tools so employees can improve what matters most in their daily work.</a:t>
            </a:r>
          </a:p>
          <a:p>
            <a:endParaRPr lang="en-GB" dirty="0"/>
          </a:p>
          <a:p>
            <a:r>
              <a:rPr lang="en-GB" b="1" dirty="0"/>
              <a:t>Foster Collaboration:</a:t>
            </a:r>
            <a:br>
              <a:rPr lang="en-GB" dirty="0"/>
            </a:br>
            <a:r>
              <a:rPr lang="en-GB" dirty="0"/>
              <a:t>Connecting developers, “citizen developers,” and end-users through multi-role events, shared projects, and peer learning.</a:t>
            </a:r>
          </a:p>
          <a:p>
            <a:endParaRPr lang="en-GB" dirty="0"/>
          </a:p>
          <a:p>
            <a:r>
              <a:rPr lang="en-GB" b="1" dirty="0"/>
              <a:t>Ensure Compliance &amp; Trust:</a:t>
            </a:r>
            <a:br>
              <a:rPr lang="en-GB" dirty="0"/>
            </a:br>
            <a:r>
              <a:rPr lang="en-GB" dirty="0"/>
              <a:t>Embedding responsible AI values through robust guidance, anonymization tools, and continuous partnership with the RAI Office and compliance teams.</a:t>
            </a:r>
          </a:p>
          <a:p>
            <a:endParaRPr lang="en-GB" dirty="0"/>
          </a:p>
          <a:p>
            <a:br>
              <a:rPr lang="en-GB" dirty="0"/>
            </a:br>
            <a:endParaRPr lang="en-DE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9DA97D1-87DC-A438-DF4C-7577EBB0483A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5F34CB99-436C-44DD-A00F-4552AD08113A}" type="datetime3">
              <a:rPr lang="en-US" noProof="0" smtClean="0"/>
              <a:t>4 June 2025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21799332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Gerade Verbindung 4"/>
          <p:cNvCxnSpPr/>
          <p:nvPr/>
        </p:nvCxnSpPr>
        <p:spPr bwMode="auto">
          <a:xfrm>
            <a:off x="7686990" y="1371192"/>
            <a:ext cx="0" cy="1591321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B53B0B38-3408-4249-AEAE-CD5D7466142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8502" y="5534187"/>
            <a:ext cx="2362543" cy="975833"/>
          </a:xfrm>
          <a:prstGeom prst="rect">
            <a:avLst/>
          </a:prstGeom>
        </p:spPr>
      </p:pic>
      <p:pic>
        <p:nvPicPr>
          <p:cNvPr id="14" name="Picture 13" descr="A close up of a logo&#10;&#10;Description automatically generated">
            <a:extLst>
              <a:ext uri="{FF2B5EF4-FFF2-40B4-BE49-F238E27FC236}">
                <a16:creationId xmlns:a16="http://schemas.microsoft.com/office/drawing/2014/main" id="{154D6457-7F65-C145-89F6-5595B28A592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9774" y="4634487"/>
            <a:ext cx="4931507" cy="1160745"/>
          </a:xfrm>
          <a:prstGeom prst="rect">
            <a:avLst/>
          </a:prstGeom>
        </p:spPr>
      </p:pic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18F18BEC-FFE2-5546-8A7D-8EA1A80449FB}"/>
              </a:ext>
            </a:extLst>
          </p:cNvPr>
          <p:cNvCxnSpPr/>
          <p:nvPr/>
        </p:nvCxnSpPr>
        <p:spPr bwMode="auto">
          <a:xfrm>
            <a:off x="5361904" y="4302344"/>
            <a:ext cx="644898" cy="0"/>
          </a:xfrm>
          <a:prstGeom prst="straightConnector1">
            <a:avLst/>
          </a:prstGeom>
          <a:solidFill>
            <a:schemeClr val="folHlink"/>
          </a:solidFill>
          <a:ln w="38100" cap="flat" cmpd="sng" algn="ctr">
            <a:solidFill>
              <a:schemeClr val="accent3">
                <a:lumMod val="95000"/>
              </a:schemeClr>
            </a:solidFill>
            <a:prstDash val="solid"/>
            <a:round/>
            <a:headEnd type="triangle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B5DFAD07-6D78-3146-807C-E5B35F95C2FE}"/>
              </a:ext>
            </a:extLst>
          </p:cNvPr>
          <p:cNvSpPr txBox="1"/>
          <p:nvPr/>
        </p:nvSpPr>
        <p:spPr>
          <a:xfrm>
            <a:off x="1697192" y="1232217"/>
            <a:ext cx="845666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sz="2000" dirty="0"/>
              <a:t>Predictive maintence:</a:t>
            </a:r>
          </a:p>
          <a:p>
            <a:r>
              <a:rPr lang="en-DE" sz="2000" dirty="0"/>
              <a:t>	When will production line machine fail?</a:t>
            </a:r>
          </a:p>
          <a:p>
            <a:r>
              <a:rPr lang="en-DE" sz="2000" dirty="0"/>
              <a:t>	When will countries shut down/open up Covid?</a:t>
            </a:r>
          </a:p>
          <a:p>
            <a:r>
              <a:rPr lang="en-DE" sz="2000" dirty="0"/>
              <a:t>	When will computing clusters run out of memory?</a:t>
            </a:r>
          </a:p>
        </p:txBody>
      </p:sp>
      <p:pic>
        <p:nvPicPr>
          <p:cNvPr id="9" name="Picture 8" descr="A screenshot of a cell phone&#10;&#10;Description automatically generated">
            <a:extLst>
              <a:ext uri="{FF2B5EF4-FFF2-40B4-BE49-F238E27FC236}">
                <a16:creationId xmlns:a16="http://schemas.microsoft.com/office/drawing/2014/main" id="{8FA1BB10-78BA-F746-BFCC-3E47B7E555B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9244" y="2555657"/>
            <a:ext cx="4661448" cy="355313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A2A1F9C-B319-007E-B0BF-2D810FBE6A44}"/>
              </a:ext>
            </a:extLst>
          </p:cNvPr>
          <p:cNvSpPr txBox="1"/>
          <p:nvPr/>
        </p:nvSpPr>
        <p:spPr>
          <a:xfrm>
            <a:off x="1202723" y="427284"/>
            <a:ext cx="728024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sz="2800" dirty="0">
                <a:latin typeface="ZEISS Frutiger Next W1G" panose="020B0803040204020203" pitchFamily="34" charset="0"/>
              </a:rPr>
              <a:t>Carl Zeiss other types of Data Science</a:t>
            </a:r>
          </a:p>
        </p:txBody>
      </p:sp>
    </p:spTree>
    <p:extLst>
      <p:ext uri="{BB962C8B-B14F-4D97-AF65-F5344CB8AC3E}">
        <p14:creationId xmlns:p14="http://schemas.microsoft.com/office/powerpoint/2010/main" val="1528796730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Gerade Verbindung 9">
            <a:extLst>
              <a:ext uri="{FF2B5EF4-FFF2-40B4-BE49-F238E27FC236}">
                <a16:creationId xmlns:a16="http://schemas.microsoft.com/office/drawing/2014/main" id="{2DC01388-451E-EF48-A339-8052A110164F}"/>
              </a:ext>
            </a:extLst>
          </p:cNvPr>
          <p:cNvCxnSpPr/>
          <p:nvPr/>
        </p:nvCxnSpPr>
        <p:spPr>
          <a:xfrm>
            <a:off x="0" y="1212112"/>
            <a:ext cx="12192000" cy="0"/>
          </a:xfrm>
          <a:prstGeom prst="line">
            <a:avLst/>
          </a:prstGeom>
          <a:ln w="12700"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Gerade Verbindung 13">
            <a:extLst>
              <a:ext uri="{FF2B5EF4-FFF2-40B4-BE49-F238E27FC236}">
                <a16:creationId xmlns:a16="http://schemas.microsoft.com/office/drawing/2014/main" id="{142D5D3A-75C7-6344-946C-A22BC05FD636}"/>
              </a:ext>
            </a:extLst>
          </p:cNvPr>
          <p:cNvCxnSpPr/>
          <p:nvPr/>
        </p:nvCxnSpPr>
        <p:spPr>
          <a:xfrm flipH="1">
            <a:off x="0" y="6581553"/>
            <a:ext cx="12192000" cy="0"/>
          </a:xfrm>
          <a:prstGeom prst="line">
            <a:avLst/>
          </a:prstGeom>
          <a:ln w="12700"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ußzeilenplatzhalter 5">
            <a:extLst>
              <a:ext uri="{FF2B5EF4-FFF2-40B4-BE49-F238E27FC236}">
                <a16:creationId xmlns:a16="http://schemas.microsoft.com/office/drawing/2014/main" id="{6DB9069D-7036-8747-9212-3E91ECD73263}"/>
              </a:ext>
            </a:extLst>
          </p:cNvPr>
          <p:cNvSpPr txBox="1">
            <a:spLocks/>
          </p:cNvSpPr>
          <p:nvPr/>
        </p:nvSpPr>
        <p:spPr>
          <a:xfrm>
            <a:off x="0" y="6581553"/>
            <a:ext cx="4114800" cy="365125"/>
          </a:xfrm>
          <a:prstGeom prst="rect">
            <a:avLst/>
          </a:prstGeom>
        </p:spPr>
        <p:txBody>
          <a:bodyPr/>
          <a:lstStyle>
            <a:defPPr>
              <a:defRPr lang="en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 dirty="0" err="1">
                <a:latin typeface="ZEISS Frutiger Next W1G" panose="020B0503040204020203" pitchFamily="34" charset="0"/>
              </a:rPr>
              <a:t>Hoyle</a:t>
            </a:r>
            <a:r>
              <a:rPr lang="de-DE" sz="1000" dirty="0">
                <a:latin typeface="ZEISS Frutiger Next W1G" panose="020B0503040204020203" pitchFamily="34" charset="0"/>
              </a:rPr>
              <a:t>: Carl Zeis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8CC89E0-C0F7-984C-A7FE-285FA7CC72AC}"/>
              </a:ext>
            </a:extLst>
          </p:cNvPr>
          <p:cNvSpPr txBox="1"/>
          <p:nvPr/>
        </p:nvSpPr>
        <p:spPr>
          <a:xfrm>
            <a:off x="1202723" y="427284"/>
            <a:ext cx="728024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sz="2800" dirty="0">
                <a:latin typeface="ZEISS Frutiger Next W1G" panose="020B0803040204020203" pitchFamily="34" charset="0"/>
              </a:rPr>
              <a:t>Carl Zeiss other types of Data Scienc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7CFAC7D-2950-024C-9CDF-795321CF3CEC}"/>
              </a:ext>
            </a:extLst>
          </p:cNvPr>
          <p:cNvSpPr txBox="1"/>
          <p:nvPr/>
        </p:nvSpPr>
        <p:spPr>
          <a:xfrm>
            <a:off x="13580076" y="312625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DE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913B60F-CC9E-554A-BB60-2CE75F75F4A2}"/>
              </a:ext>
            </a:extLst>
          </p:cNvPr>
          <p:cNvSpPr txBox="1"/>
          <p:nvPr/>
        </p:nvSpPr>
        <p:spPr>
          <a:xfrm>
            <a:off x="1703070" y="1212111"/>
            <a:ext cx="10115550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sz="2000" dirty="0">
                <a:latin typeface="ZEISS Frutiger Next W1G" panose="020B0803040204020203" pitchFamily="34" charset="0"/>
              </a:rPr>
              <a:t>Predictive maintence:</a:t>
            </a:r>
          </a:p>
          <a:p>
            <a:r>
              <a:rPr lang="en-DE" sz="2000" dirty="0">
                <a:latin typeface="ZEISS Frutiger Next W1G" panose="020B0803040204020203" pitchFamily="34" charset="0"/>
              </a:rPr>
              <a:t>	When will production line machine fail?</a:t>
            </a:r>
          </a:p>
          <a:p>
            <a:r>
              <a:rPr lang="en-DE" sz="2000" dirty="0">
                <a:latin typeface="ZEISS Frutiger Next W1G" panose="020B0803040204020203" pitchFamily="34" charset="0"/>
              </a:rPr>
              <a:t>	When will computing clusters run out of memory?</a:t>
            </a:r>
          </a:p>
          <a:p>
            <a:endParaRPr lang="en-DE" sz="2000" dirty="0">
              <a:latin typeface="ZEISS Frutiger Next W1G" panose="020B0803040204020203" pitchFamily="34" charset="0"/>
            </a:endParaRPr>
          </a:p>
          <a:p>
            <a:r>
              <a:rPr lang="en-DE" sz="2000" dirty="0">
                <a:latin typeface="ZEISS Frutiger Next W1G" panose="020B0803040204020203" pitchFamily="34" charset="0"/>
              </a:rPr>
              <a:t>Image based Deep ML:</a:t>
            </a:r>
          </a:p>
          <a:p>
            <a:r>
              <a:rPr lang="en-DE" sz="2000" dirty="0">
                <a:latin typeface="ZEISS Frutiger Next W1G" panose="020B0803040204020203" pitchFamily="34" charset="0"/>
              </a:rPr>
              <a:t>	Segmentation: helping opticians/surgens with AR highlighting of body parts</a:t>
            </a:r>
          </a:p>
          <a:p>
            <a:r>
              <a:rPr lang="en-DE" sz="2000" dirty="0">
                <a:latin typeface="ZEISS Frutiger Next W1G" panose="020B0803040204020203" pitchFamily="34" charset="0"/>
              </a:rPr>
              <a:t>	Fault detection of lenses during manufactoring</a:t>
            </a:r>
          </a:p>
          <a:p>
            <a:r>
              <a:rPr lang="en-DE" sz="2000" dirty="0">
                <a:latin typeface="ZEISS Frutiger Next W1G" panose="020B0803040204020203" pitchFamily="34" charset="0"/>
              </a:rPr>
              <a:t>	A.R. labelleing of features during surgery, using live video feeds</a:t>
            </a:r>
          </a:p>
          <a:p>
            <a:endParaRPr lang="en-DE" sz="2000" dirty="0">
              <a:latin typeface="ZEISS Frutiger Next W1G" panose="020B0803040204020203" pitchFamily="34" charset="0"/>
            </a:endParaRPr>
          </a:p>
          <a:p>
            <a:endParaRPr lang="en-DE" sz="2000" dirty="0">
              <a:latin typeface="ZEISS Frutiger Next W1G" panose="020B0803040204020203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584CE50-02BA-DE43-A4CA-1DB2440B086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0153" y="4083896"/>
            <a:ext cx="1739262" cy="231901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48FFAA3-A4A6-2A48-939C-FB0421263D6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2969" y="4083895"/>
            <a:ext cx="1739262" cy="2319017"/>
          </a:xfrm>
          <a:prstGeom prst="rect">
            <a:avLst/>
          </a:prstGeom>
        </p:spPr>
      </p:pic>
      <p:pic>
        <p:nvPicPr>
          <p:cNvPr id="11" name="Picture 10" descr="Graphical user interface, application, Teams&#10;&#10;Description automatically generated">
            <a:extLst>
              <a:ext uri="{FF2B5EF4-FFF2-40B4-BE49-F238E27FC236}">
                <a16:creationId xmlns:a16="http://schemas.microsoft.com/office/drawing/2014/main" id="{FD8134C1-E4F7-E34A-AD9E-5687C83441B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850" y="3979080"/>
            <a:ext cx="6026150" cy="333361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2860864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Gerade Verbindung 9">
            <a:extLst>
              <a:ext uri="{FF2B5EF4-FFF2-40B4-BE49-F238E27FC236}">
                <a16:creationId xmlns:a16="http://schemas.microsoft.com/office/drawing/2014/main" id="{2DC01388-451E-EF48-A339-8052A110164F}"/>
              </a:ext>
            </a:extLst>
          </p:cNvPr>
          <p:cNvCxnSpPr/>
          <p:nvPr/>
        </p:nvCxnSpPr>
        <p:spPr>
          <a:xfrm>
            <a:off x="0" y="1212112"/>
            <a:ext cx="12192000" cy="0"/>
          </a:xfrm>
          <a:prstGeom prst="line">
            <a:avLst/>
          </a:prstGeom>
          <a:ln w="12700"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Gerade Verbindung 13">
            <a:extLst>
              <a:ext uri="{FF2B5EF4-FFF2-40B4-BE49-F238E27FC236}">
                <a16:creationId xmlns:a16="http://schemas.microsoft.com/office/drawing/2014/main" id="{142D5D3A-75C7-6344-946C-A22BC05FD636}"/>
              </a:ext>
            </a:extLst>
          </p:cNvPr>
          <p:cNvCxnSpPr/>
          <p:nvPr/>
        </p:nvCxnSpPr>
        <p:spPr>
          <a:xfrm flipH="1">
            <a:off x="0" y="6581553"/>
            <a:ext cx="12192000" cy="0"/>
          </a:xfrm>
          <a:prstGeom prst="line">
            <a:avLst/>
          </a:prstGeom>
          <a:ln w="12700"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ußzeilenplatzhalter 5">
            <a:extLst>
              <a:ext uri="{FF2B5EF4-FFF2-40B4-BE49-F238E27FC236}">
                <a16:creationId xmlns:a16="http://schemas.microsoft.com/office/drawing/2014/main" id="{6DB9069D-7036-8747-9212-3E91ECD73263}"/>
              </a:ext>
            </a:extLst>
          </p:cNvPr>
          <p:cNvSpPr txBox="1">
            <a:spLocks/>
          </p:cNvSpPr>
          <p:nvPr/>
        </p:nvSpPr>
        <p:spPr>
          <a:xfrm>
            <a:off x="0" y="6581553"/>
            <a:ext cx="4114800" cy="365125"/>
          </a:xfrm>
          <a:prstGeom prst="rect">
            <a:avLst/>
          </a:prstGeom>
        </p:spPr>
        <p:txBody>
          <a:bodyPr/>
          <a:lstStyle>
            <a:defPPr>
              <a:defRPr lang="en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 dirty="0" err="1">
                <a:latin typeface="ZEISS Frutiger Next W1G" panose="020B0503040204020203" pitchFamily="34" charset="0"/>
              </a:rPr>
              <a:t>Hoyle</a:t>
            </a:r>
            <a:r>
              <a:rPr lang="de-DE" sz="1000" dirty="0">
                <a:latin typeface="ZEISS Frutiger Next W1G" panose="020B0503040204020203" pitchFamily="34" charset="0"/>
              </a:rPr>
              <a:t>: Carl Zeis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7CFAC7D-2950-024C-9CDF-795321CF3CEC}"/>
              </a:ext>
            </a:extLst>
          </p:cNvPr>
          <p:cNvSpPr txBox="1"/>
          <p:nvPr/>
        </p:nvSpPr>
        <p:spPr>
          <a:xfrm>
            <a:off x="13580076" y="312625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DE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913B60F-CC9E-554A-BB60-2CE75F75F4A2}"/>
              </a:ext>
            </a:extLst>
          </p:cNvPr>
          <p:cNvSpPr txBox="1"/>
          <p:nvPr/>
        </p:nvSpPr>
        <p:spPr>
          <a:xfrm>
            <a:off x="1703070" y="1212111"/>
            <a:ext cx="10309860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sz="2000" dirty="0">
                <a:latin typeface="ZEISS Frutiger Next W1G" panose="020B0803040204020203" pitchFamily="34" charset="0"/>
              </a:rPr>
              <a:t>Predictive maintence:</a:t>
            </a:r>
          </a:p>
          <a:p>
            <a:r>
              <a:rPr lang="en-DE" sz="2000" dirty="0">
                <a:latin typeface="ZEISS Frutiger Next W1G" panose="020B0803040204020203" pitchFamily="34" charset="0"/>
              </a:rPr>
              <a:t>	When will production line machine fail?</a:t>
            </a:r>
          </a:p>
          <a:p>
            <a:r>
              <a:rPr lang="en-DE" sz="2000" dirty="0">
                <a:latin typeface="ZEISS Frutiger Next W1G" panose="020B0803040204020203" pitchFamily="34" charset="0"/>
              </a:rPr>
              <a:t>	When will computing clusters run out of memory?</a:t>
            </a:r>
          </a:p>
          <a:p>
            <a:endParaRPr lang="en-DE" sz="2000" dirty="0">
              <a:latin typeface="ZEISS Frutiger Next W1G" panose="020B0803040204020203" pitchFamily="34" charset="0"/>
            </a:endParaRPr>
          </a:p>
          <a:p>
            <a:r>
              <a:rPr lang="en-DE" sz="2000" dirty="0">
                <a:latin typeface="ZEISS Frutiger Next W1G" panose="020B0803040204020203" pitchFamily="34" charset="0"/>
              </a:rPr>
              <a:t>Image based Deep ML:</a:t>
            </a:r>
          </a:p>
          <a:p>
            <a:r>
              <a:rPr lang="en-DE" sz="2000" dirty="0">
                <a:latin typeface="ZEISS Frutiger Next W1G" panose="020B0803040204020203" pitchFamily="34" charset="0"/>
              </a:rPr>
              <a:t>	Segmentation: helping opticians/surgens with AR highlighting of body parts</a:t>
            </a:r>
          </a:p>
          <a:p>
            <a:r>
              <a:rPr lang="en-DE" sz="2000" dirty="0">
                <a:latin typeface="ZEISS Frutiger Next W1G" panose="020B0803040204020203" pitchFamily="34" charset="0"/>
              </a:rPr>
              <a:t>	Fault detection of lenses during manufactoring</a:t>
            </a:r>
          </a:p>
          <a:p>
            <a:r>
              <a:rPr lang="en-DE" sz="2000" dirty="0">
                <a:latin typeface="ZEISS Frutiger Next W1G" panose="020B0803040204020203" pitchFamily="34" charset="0"/>
              </a:rPr>
              <a:t>	A.R. labelleing of features during surgery, using live video feeds</a:t>
            </a:r>
          </a:p>
          <a:p>
            <a:endParaRPr lang="en-DE" sz="2000" dirty="0">
              <a:latin typeface="ZEISS Frutiger Next W1G" panose="020B0803040204020203" pitchFamily="34" charset="0"/>
            </a:endParaRPr>
          </a:p>
          <a:p>
            <a:r>
              <a:rPr lang="en-DE" sz="2000" dirty="0">
                <a:latin typeface="ZEISS Frutiger Next W1G" panose="020B0803040204020203" pitchFamily="34" charset="0"/>
              </a:rPr>
              <a:t>Recommender Systems:</a:t>
            </a:r>
          </a:p>
          <a:p>
            <a:r>
              <a:rPr lang="en-DE" sz="2000" dirty="0">
                <a:latin typeface="ZEISS Frutiger Next W1G" panose="020B0803040204020203" pitchFamily="34" charset="0"/>
              </a:rPr>
              <a:t> 	Glasses/Frames for consumers</a:t>
            </a:r>
          </a:p>
          <a:p>
            <a:r>
              <a:rPr lang="en-DE" sz="2000" dirty="0">
                <a:latin typeface="ZEISS Frutiger Next W1G" panose="020B0803040204020203" pitchFamily="34" charset="0"/>
              </a:rPr>
              <a:t>	Products that can run on different machin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9FC39AA-993F-5A6E-29C9-DBB8BD821962}"/>
              </a:ext>
            </a:extLst>
          </p:cNvPr>
          <p:cNvSpPr txBox="1"/>
          <p:nvPr/>
        </p:nvSpPr>
        <p:spPr>
          <a:xfrm>
            <a:off x="1202723" y="427284"/>
            <a:ext cx="728024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sz="2800" dirty="0">
                <a:latin typeface="ZEISS Frutiger Next W1G" panose="020B0803040204020203" pitchFamily="34" charset="0"/>
              </a:rPr>
              <a:t>Carl Zeiss other types of Data Scienc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7285535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Gerade Verbindung 9">
            <a:extLst>
              <a:ext uri="{FF2B5EF4-FFF2-40B4-BE49-F238E27FC236}">
                <a16:creationId xmlns:a16="http://schemas.microsoft.com/office/drawing/2014/main" id="{2DC01388-451E-EF48-A339-8052A110164F}"/>
              </a:ext>
            </a:extLst>
          </p:cNvPr>
          <p:cNvCxnSpPr/>
          <p:nvPr/>
        </p:nvCxnSpPr>
        <p:spPr>
          <a:xfrm>
            <a:off x="0" y="1212112"/>
            <a:ext cx="12192000" cy="0"/>
          </a:xfrm>
          <a:prstGeom prst="line">
            <a:avLst/>
          </a:prstGeom>
          <a:ln w="12700"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Gerade Verbindung 13">
            <a:extLst>
              <a:ext uri="{FF2B5EF4-FFF2-40B4-BE49-F238E27FC236}">
                <a16:creationId xmlns:a16="http://schemas.microsoft.com/office/drawing/2014/main" id="{142D5D3A-75C7-6344-946C-A22BC05FD636}"/>
              </a:ext>
            </a:extLst>
          </p:cNvPr>
          <p:cNvCxnSpPr/>
          <p:nvPr/>
        </p:nvCxnSpPr>
        <p:spPr>
          <a:xfrm flipH="1">
            <a:off x="0" y="6581553"/>
            <a:ext cx="12192000" cy="0"/>
          </a:xfrm>
          <a:prstGeom prst="line">
            <a:avLst/>
          </a:prstGeom>
          <a:ln w="12700"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ußzeilenplatzhalter 5">
            <a:extLst>
              <a:ext uri="{FF2B5EF4-FFF2-40B4-BE49-F238E27FC236}">
                <a16:creationId xmlns:a16="http://schemas.microsoft.com/office/drawing/2014/main" id="{6DB9069D-7036-8747-9212-3E91ECD73263}"/>
              </a:ext>
            </a:extLst>
          </p:cNvPr>
          <p:cNvSpPr txBox="1">
            <a:spLocks/>
          </p:cNvSpPr>
          <p:nvPr/>
        </p:nvSpPr>
        <p:spPr>
          <a:xfrm>
            <a:off x="0" y="6581553"/>
            <a:ext cx="4114800" cy="365125"/>
          </a:xfrm>
          <a:prstGeom prst="rect">
            <a:avLst/>
          </a:prstGeom>
        </p:spPr>
        <p:txBody>
          <a:bodyPr/>
          <a:lstStyle>
            <a:defPPr>
              <a:defRPr lang="en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 dirty="0" err="1">
                <a:latin typeface="ZEISS Frutiger Next W1G" panose="020B0503040204020203" pitchFamily="34" charset="0"/>
              </a:rPr>
              <a:t>Hoyle</a:t>
            </a:r>
            <a:r>
              <a:rPr lang="de-DE" sz="1000" dirty="0">
                <a:latin typeface="ZEISS Frutiger Next W1G" panose="020B0503040204020203" pitchFamily="34" charset="0"/>
              </a:rPr>
              <a:t>: Carl Zeis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7CFAC7D-2950-024C-9CDF-795321CF3CEC}"/>
              </a:ext>
            </a:extLst>
          </p:cNvPr>
          <p:cNvSpPr txBox="1"/>
          <p:nvPr/>
        </p:nvSpPr>
        <p:spPr>
          <a:xfrm>
            <a:off x="13580076" y="312625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DE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913B60F-CC9E-554A-BB60-2CE75F75F4A2}"/>
              </a:ext>
            </a:extLst>
          </p:cNvPr>
          <p:cNvSpPr txBox="1"/>
          <p:nvPr/>
        </p:nvSpPr>
        <p:spPr>
          <a:xfrm>
            <a:off x="1703070" y="1212111"/>
            <a:ext cx="10389870" cy="5324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sz="2000" dirty="0">
                <a:latin typeface="ZEISS Frutiger Next W1G" panose="020B0803040204020203" pitchFamily="34" charset="0"/>
              </a:rPr>
              <a:t>Predictive maintence:</a:t>
            </a:r>
          </a:p>
          <a:p>
            <a:r>
              <a:rPr lang="en-DE" sz="2000" dirty="0">
                <a:latin typeface="ZEISS Frutiger Next W1G" panose="020B0803040204020203" pitchFamily="34" charset="0"/>
              </a:rPr>
              <a:t>	When will production line machine fail?</a:t>
            </a:r>
          </a:p>
          <a:p>
            <a:r>
              <a:rPr lang="en-DE" sz="2000" dirty="0">
                <a:latin typeface="ZEISS Frutiger Next W1G" panose="020B0803040204020203" pitchFamily="34" charset="0"/>
              </a:rPr>
              <a:t>	When will computing clusters run out of memory?</a:t>
            </a:r>
          </a:p>
          <a:p>
            <a:endParaRPr lang="en-DE" sz="2000" dirty="0">
              <a:latin typeface="ZEISS Frutiger Next W1G" panose="020B0803040204020203" pitchFamily="34" charset="0"/>
            </a:endParaRPr>
          </a:p>
          <a:p>
            <a:r>
              <a:rPr lang="en-DE" sz="2000" dirty="0">
                <a:latin typeface="ZEISS Frutiger Next W1G" panose="020B0803040204020203" pitchFamily="34" charset="0"/>
              </a:rPr>
              <a:t>Image based Deep ML:</a:t>
            </a:r>
          </a:p>
          <a:p>
            <a:r>
              <a:rPr lang="en-DE" sz="2000" dirty="0">
                <a:latin typeface="ZEISS Frutiger Next W1G" panose="020B0803040204020203" pitchFamily="34" charset="0"/>
              </a:rPr>
              <a:t>	Segmentation: helping opticians/surgens with AR highlighting of body parts</a:t>
            </a:r>
          </a:p>
          <a:p>
            <a:r>
              <a:rPr lang="en-DE" sz="2000" dirty="0">
                <a:latin typeface="ZEISS Frutiger Next W1G" panose="020B0803040204020203" pitchFamily="34" charset="0"/>
              </a:rPr>
              <a:t>	Fault detection of lenses during manufactoring</a:t>
            </a:r>
          </a:p>
          <a:p>
            <a:r>
              <a:rPr lang="en-DE" sz="2000" dirty="0">
                <a:latin typeface="ZEISS Frutiger Next W1G" panose="020B0803040204020203" pitchFamily="34" charset="0"/>
              </a:rPr>
              <a:t>	A.R. labelleing of features during surgery, using live video feeds</a:t>
            </a:r>
          </a:p>
          <a:p>
            <a:endParaRPr lang="en-DE" sz="2000" dirty="0">
              <a:latin typeface="ZEISS Frutiger Next W1G" panose="020B0803040204020203" pitchFamily="34" charset="0"/>
            </a:endParaRPr>
          </a:p>
          <a:p>
            <a:r>
              <a:rPr lang="en-DE" sz="2000" dirty="0">
                <a:latin typeface="ZEISS Frutiger Next W1G" panose="020B0803040204020203" pitchFamily="34" charset="0"/>
              </a:rPr>
              <a:t>Recommender Systems:</a:t>
            </a:r>
          </a:p>
          <a:p>
            <a:r>
              <a:rPr lang="en-DE" sz="2000" dirty="0">
                <a:latin typeface="ZEISS Frutiger Next W1G" panose="020B0803040204020203" pitchFamily="34" charset="0"/>
              </a:rPr>
              <a:t> 	Glasses/Frames for consumers</a:t>
            </a:r>
          </a:p>
          <a:p>
            <a:r>
              <a:rPr lang="en-DE" sz="2000" dirty="0">
                <a:latin typeface="ZEISS Frutiger Next W1G" panose="020B0803040204020203" pitchFamily="34" charset="0"/>
              </a:rPr>
              <a:t>	Products that can run on different machines</a:t>
            </a:r>
          </a:p>
          <a:p>
            <a:endParaRPr lang="en-DE" sz="2000" dirty="0">
              <a:latin typeface="ZEISS Frutiger Next W1G" panose="020B0803040204020203" pitchFamily="34" charset="0"/>
            </a:endParaRPr>
          </a:p>
          <a:p>
            <a:r>
              <a:rPr lang="en-DE" sz="2000" dirty="0">
                <a:latin typeface="ZEISS Frutiger Next W1G" panose="020B0803040204020203" pitchFamily="34" charset="0"/>
              </a:rPr>
              <a:t>Automation of repeated human tasks:</a:t>
            </a:r>
          </a:p>
          <a:p>
            <a:r>
              <a:rPr lang="en-DE" sz="2000" dirty="0">
                <a:latin typeface="ZEISS Frutiger Next W1G" panose="020B0803040204020203" pitchFamily="34" charset="0"/>
              </a:rPr>
              <a:t>	A task “input -&gt; (human) -&gt; output” has been performed many times</a:t>
            </a:r>
          </a:p>
          <a:p>
            <a:r>
              <a:rPr lang="en-DE" sz="2000" dirty="0">
                <a:latin typeface="ZEISS Frutiger Next W1G" panose="020B0803040204020203" pitchFamily="34" charset="0"/>
              </a:rPr>
              <a:t>	     </a:t>
            </a:r>
            <a:r>
              <a:rPr lang="en-DE" sz="2000" dirty="0">
                <a:latin typeface="ZEISS Frutiger Next W1G" panose="020B0803040204020203" pitchFamily="34" charset="0"/>
                <a:sym typeface="Wingdings" pitchFamily="2" charset="2"/>
              </a:rPr>
              <a:t> </a:t>
            </a:r>
            <a:r>
              <a:rPr lang="en-DE" sz="2000" dirty="0">
                <a:latin typeface="ZEISS Frutiger Next W1G" panose="020B0803040204020203" pitchFamily="34" charset="0"/>
              </a:rPr>
              <a:t>can we use ML/Algorithms to approximate (human)? </a:t>
            </a:r>
          </a:p>
          <a:p>
            <a:r>
              <a:rPr lang="en-DE" sz="2000" dirty="0">
                <a:latin typeface="ZEISS Frutiger Next W1G" panose="020B0803040204020203" pitchFamily="34" charset="0"/>
              </a:rPr>
              <a:t>		– yes/no/some of time. – speed up processes, save costs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A6B05DF-48EE-3F20-9A63-D2531FA18652}"/>
              </a:ext>
            </a:extLst>
          </p:cNvPr>
          <p:cNvSpPr txBox="1"/>
          <p:nvPr/>
        </p:nvSpPr>
        <p:spPr>
          <a:xfrm>
            <a:off x="1202723" y="427284"/>
            <a:ext cx="728024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sz="2800" dirty="0">
                <a:latin typeface="ZEISS Frutiger Next W1G" panose="020B0803040204020203" pitchFamily="34" charset="0"/>
              </a:rPr>
              <a:t>Carl Zeiss other types of Data Scienc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74910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3C08E8-7349-6B23-D03D-28804DA0CB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64B993-160A-BA3D-F16E-D0A705C995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What is Generative AI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9597D1-4F11-D133-B08A-41F5A6ECFE85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en-US" dirty="0"/>
              <a:t>Jump on, in, and start using it right now.</a:t>
            </a:r>
            <a:endParaRPr lang="en-D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3848F5-53AF-52E3-1F6C-59EF47544304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516000" y="1355409"/>
            <a:ext cx="11160000" cy="4464000"/>
          </a:xfrm>
        </p:spPr>
        <p:txBody>
          <a:bodyPr/>
          <a:lstStyle/>
          <a:p>
            <a:pPr algn="ctr"/>
            <a:r>
              <a:rPr lang="en-DE" dirty="0"/>
              <a:t>”In the short term: GenAI will not replace experts. Experts who use GenAI will replace experts who don’t.”</a:t>
            </a:r>
          </a:p>
          <a:p>
            <a:pPr algn="ctr"/>
            <a:r>
              <a:rPr lang="en-DE" dirty="0"/>
              <a:t>-- </a:t>
            </a:r>
            <a:r>
              <a:rPr lang="en-US" dirty="0"/>
              <a:t>A bunch of people.</a:t>
            </a:r>
            <a:endParaRPr lang="en-DE" dirty="0"/>
          </a:p>
          <a:p>
            <a:endParaRPr lang="en-DE" dirty="0"/>
          </a:p>
          <a:p>
            <a:r>
              <a:rPr lang="en-DE" dirty="0"/>
              <a:t>	"GenAI improvements are accelerating in their frequency.  	</a:t>
            </a:r>
          </a:p>
          <a:p>
            <a:r>
              <a:rPr lang="en-DE" dirty="0"/>
              <a:t>	</a:t>
            </a:r>
            <a:r>
              <a:rPr lang="en-GB" dirty="0"/>
              <a:t>A</a:t>
            </a:r>
            <a:r>
              <a:rPr lang="en-DE" dirty="0"/>
              <a:t> few months is a long time and the landscape changes drastically. </a:t>
            </a:r>
          </a:p>
          <a:p>
            <a:r>
              <a:rPr lang="en-DE" dirty="0"/>
              <a:t>	Constantly update any prior you have about this tech.”  -- Ben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C13421B-B7E3-2C0D-66B3-5009DD8EE1E4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5F34CB99-436C-44DD-A00F-4552AD08113A}" type="datetime3">
              <a:rPr lang="en-US" noProof="0" smtClean="0"/>
              <a:t>4 June 2025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170290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F26827-3A15-A97B-EEF4-659C9AD0C5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734C244-F9E4-2593-EC82-30AFE2F1CEBB}"/>
              </a:ext>
            </a:extLst>
          </p:cNvPr>
          <p:cNvSpPr>
            <a:spLocks noGrp="1"/>
          </p:cNvSpPr>
          <p:nvPr>
            <p:ph type="ftr" sz="quarter" idx="61"/>
          </p:nvPr>
        </p:nvSpPr>
        <p:spPr/>
        <p:txBody>
          <a:bodyPr/>
          <a:lstStyle/>
          <a:p>
            <a:r>
              <a:rPr lang="en-US" noProof="0"/>
              <a:t>ZEISS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421CEB3A-E897-2FB7-4391-041618FDE4D8}"/>
              </a:ext>
            </a:extLst>
          </p:cNvPr>
          <p:cNvSpPr>
            <a:spLocks noGrp="1"/>
          </p:cNvSpPr>
          <p:nvPr>
            <p:ph type="sldNum" sz="quarter" idx="62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4</a:t>
            </a:fld>
            <a:endParaRPr lang="en-US" noProof="0"/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5DC06A00-57F7-E595-43A0-B4312B0A137B}"/>
              </a:ext>
            </a:extLst>
          </p:cNvPr>
          <p:cNvSpPr>
            <a:spLocks noGrp="1"/>
          </p:cNvSpPr>
          <p:nvPr>
            <p:ph type="dt" sz="half" idx="60"/>
          </p:nvPr>
        </p:nvSpPr>
        <p:spPr/>
        <p:txBody>
          <a:bodyPr/>
          <a:lstStyle/>
          <a:p>
            <a:fld id="{0FC8FB8A-5F87-4612-8394-67244948451F}" type="datetime3">
              <a:rPr lang="en-US" noProof="0" smtClean="0"/>
              <a:t>4 June 2025</a:t>
            </a:fld>
            <a:endParaRPr lang="en-US" noProof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4967FDC-586E-AE62-D0FC-740796573E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9" y="299633"/>
            <a:ext cx="9740106" cy="369332"/>
          </a:xfrm>
        </p:spPr>
        <p:txBody>
          <a:bodyPr>
            <a:normAutofit/>
          </a:bodyPr>
          <a:lstStyle/>
          <a:p>
            <a:r>
              <a:rPr lang="en-US"/>
              <a:t>GenAI will keep getting better/scarier!</a:t>
            </a:r>
            <a:endParaRPr lang="en-DE"/>
          </a:p>
        </p:txBody>
      </p:sp>
      <p:pic>
        <p:nvPicPr>
          <p:cNvPr id="4" name="genai.video">
            <a:hlinkClick r:id="" action="ppaction://media"/>
            <a:extLst>
              <a:ext uri="{FF2B5EF4-FFF2-40B4-BE49-F238E27FC236}">
                <a16:creationId xmlns:a16="http://schemas.microsoft.com/office/drawing/2014/main" id="{849DBEF3-EE4A-41B3-B7AD-470B6E209059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399312" y="1169582"/>
            <a:ext cx="5953604" cy="3154325"/>
          </a:xfrm>
          <a:prstGeom prst="rect">
            <a:avLst/>
          </a:prstGeom>
        </p:spPr>
      </p:pic>
      <p:pic>
        <p:nvPicPr>
          <p:cNvPr id="5" name="offline_image">
            <a:hlinkClick r:id="" action="ppaction://media"/>
            <a:extLst>
              <a:ext uri="{FF2B5EF4-FFF2-40B4-BE49-F238E27FC236}">
                <a16:creationId xmlns:a16="http://schemas.microsoft.com/office/drawing/2014/main" id="{EF6349C1-A438-47DE-1B55-45A74F1B5D2F}"/>
              </a:ext>
            </a:extLst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6527642" y="1169582"/>
            <a:ext cx="5265046" cy="4617336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AF801E4-A5A0-71BA-DFEC-D74C221DB840}"/>
              </a:ext>
            </a:extLst>
          </p:cNvPr>
          <p:cNvSpPr txBox="1"/>
          <p:nvPr/>
        </p:nvSpPr>
        <p:spPr>
          <a:xfrm rot="2125221">
            <a:off x="9611534" y="957052"/>
            <a:ext cx="2780403" cy="413723"/>
          </a:xfrm>
          <a:prstGeom prst="rect">
            <a:avLst/>
          </a:prstGeom>
          <a:solidFill>
            <a:srgbClr val="FFC000">
              <a:alpha val="94000"/>
            </a:srgb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000" b="1" i="1"/>
              <a:t>Food for thought</a:t>
            </a:r>
            <a:endParaRPr lang="en-DE" sz="2000" i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A7C5753-8DFC-C8E7-D28C-B37A226A34EE}"/>
              </a:ext>
            </a:extLst>
          </p:cNvPr>
          <p:cNvSpPr txBox="1"/>
          <p:nvPr/>
        </p:nvSpPr>
        <p:spPr>
          <a:xfrm>
            <a:off x="542620" y="726977"/>
            <a:ext cx="3516988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How can you use this tech?</a:t>
            </a:r>
            <a:endParaRPr kumimoji="0" lang="en-DE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DEC326C-C38F-119B-D4F7-7971AD505917}"/>
              </a:ext>
            </a:extLst>
          </p:cNvPr>
          <p:cNvSpPr txBox="1"/>
          <p:nvPr/>
        </p:nvSpPr>
        <p:spPr>
          <a:xfrm>
            <a:off x="399312" y="4824524"/>
            <a:ext cx="437619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-DE" sz="16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Astro examples</a:t>
            </a:r>
            <a:r>
              <a:rPr kumimoji="0" lang="en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: Cool outreach videos in ~0 time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D676A69-937D-10D7-7485-82B4F9566206}"/>
              </a:ext>
            </a:extLst>
          </p:cNvPr>
          <p:cNvSpPr txBox="1"/>
          <p:nvPr/>
        </p:nvSpPr>
        <p:spPr>
          <a:xfrm>
            <a:off x="384109" y="5325141"/>
            <a:ext cx="5984010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ZEISS examples: not yet realised. Marketing materials, training videos. </a:t>
            </a:r>
          </a:p>
        </p:txBody>
      </p:sp>
    </p:spTree>
    <p:extLst>
      <p:ext uri="{BB962C8B-B14F-4D97-AF65-F5344CB8AC3E}">
        <p14:creationId xmlns:p14="http://schemas.microsoft.com/office/powerpoint/2010/main" val="24782972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55000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0" dur="3910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11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2" fill="hold">
                      <p:stCondLst>
                        <p:cond delay="0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5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  <p:seq concurrent="1" nextAc="seek">
              <p:cTn id="16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7" fill="hold">
                      <p:stCondLst>
                        <p:cond delay="0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0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21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video>
              <p:cMediaNode vol="80000">
                <p:cTn id="22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01DFFD-1667-05EE-AD49-13F6BB3341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E54BAD4-F348-F22C-5144-885A45A2FFCC}"/>
              </a:ext>
            </a:extLst>
          </p:cNvPr>
          <p:cNvSpPr>
            <a:spLocks noGrp="1"/>
          </p:cNvSpPr>
          <p:nvPr>
            <p:ph type="ftr" sz="quarter" idx="61"/>
          </p:nvPr>
        </p:nvSpPr>
        <p:spPr/>
        <p:txBody>
          <a:bodyPr/>
          <a:lstStyle/>
          <a:p>
            <a:r>
              <a:rPr lang="en-US" noProof="0"/>
              <a:t>ZEISS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7160B55-DADC-B32F-3F7B-01E6F073F2F3}"/>
              </a:ext>
            </a:extLst>
          </p:cNvPr>
          <p:cNvSpPr>
            <a:spLocks noGrp="1"/>
          </p:cNvSpPr>
          <p:nvPr>
            <p:ph type="sldNum" sz="quarter" idx="62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5</a:t>
            </a:fld>
            <a:endParaRPr lang="en-US" noProof="0"/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FBC57B68-8005-74EC-AEC0-D4B5D1F4A808}"/>
              </a:ext>
            </a:extLst>
          </p:cNvPr>
          <p:cNvSpPr>
            <a:spLocks noGrp="1"/>
          </p:cNvSpPr>
          <p:nvPr>
            <p:ph type="dt" sz="half" idx="60"/>
          </p:nvPr>
        </p:nvSpPr>
        <p:spPr/>
        <p:txBody>
          <a:bodyPr/>
          <a:lstStyle/>
          <a:p>
            <a:fld id="{0FC8FB8A-5F87-4612-8394-67244948451F}" type="datetime3">
              <a:rPr lang="en-US" noProof="0" smtClean="0"/>
              <a:t>4 June 2025</a:t>
            </a:fld>
            <a:endParaRPr lang="en-US" noProof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89ACD7-66EA-836B-F318-77E0366B6E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9" y="299633"/>
            <a:ext cx="9740106" cy="369332"/>
          </a:xfrm>
        </p:spPr>
        <p:txBody>
          <a:bodyPr>
            <a:normAutofit/>
          </a:bodyPr>
          <a:lstStyle/>
          <a:p>
            <a:r>
              <a:rPr lang="en-US"/>
              <a:t>GenAI will keep getting better!</a:t>
            </a:r>
            <a:endParaRPr lang="en-DE"/>
          </a:p>
        </p:txBody>
      </p:sp>
      <p:pic>
        <p:nvPicPr>
          <p:cNvPr id="4" name="Picture 3" descr="A screenshot of a video game&#10;&#10;AI-generated content may be incorrect.">
            <a:extLst>
              <a:ext uri="{FF2B5EF4-FFF2-40B4-BE49-F238E27FC236}">
                <a16:creationId xmlns:a16="http://schemas.microsoft.com/office/drawing/2014/main" id="{984D0FE5-2504-38FF-8F98-CCC32BCF5DE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319" y="882244"/>
            <a:ext cx="5577681" cy="469699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Picture 4" descr="A screenshot of a website&#10;&#10;AI-generated content may be incorrect.">
            <a:extLst>
              <a:ext uri="{FF2B5EF4-FFF2-40B4-BE49-F238E27FC236}">
                <a16:creationId xmlns:a16="http://schemas.microsoft.com/office/drawing/2014/main" id="{00D49BA3-C725-C3CB-F22C-BF788C85AB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5069" y="4013790"/>
            <a:ext cx="3260679" cy="264137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Picture 5" descr="A screenshot of a chat&#10;&#10;AI-generated content may be incorrect.">
            <a:extLst>
              <a:ext uri="{FF2B5EF4-FFF2-40B4-BE49-F238E27FC236}">
                <a16:creationId xmlns:a16="http://schemas.microsoft.com/office/drawing/2014/main" id="{C5767ED0-2DEC-4572-E625-DE786A5533B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6819" y="795426"/>
            <a:ext cx="3426325" cy="327314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9D27F2F-7BCD-0382-CF71-4D1DC0BBAC38}"/>
              </a:ext>
            </a:extLst>
          </p:cNvPr>
          <p:cNvSpPr txBox="1"/>
          <p:nvPr/>
        </p:nvSpPr>
        <p:spPr>
          <a:xfrm rot="2125221">
            <a:off x="9611534" y="957052"/>
            <a:ext cx="2780403" cy="413723"/>
          </a:xfrm>
          <a:prstGeom prst="rect">
            <a:avLst/>
          </a:prstGeom>
          <a:solidFill>
            <a:srgbClr val="FFC000">
              <a:alpha val="94000"/>
            </a:srgb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000" b="1" i="1"/>
              <a:t>Food for thought</a:t>
            </a:r>
            <a:endParaRPr lang="en-DE" sz="2000" i="1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C45C144-5F6F-17F8-9CEA-C53106D386EE}"/>
              </a:ext>
            </a:extLst>
          </p:cNvPr>
          <p:cNvSpPr txBox="1"/>
          <p:nvPr/>
        </p:nvSpPr>
        <p:spPr>
          <a:xfrm>
            <a:off x="518319" y="640740"/>
            <a:ext cx="1837041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-DE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ZEISS examp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0C47645-9A36-1B88-B6EC-C09FEF1FD571}"/>
              </a:ext>
            </a:extLst>
          </p:cNvPr>
          <p:cNvSpPr txBox="1"/>
          <p:nvPr/>
        </p:nvSpPr>
        <p:spPr>
          <a:xfrm>
            <a:off x="518319" y="5792517"/>
            <a:ext cx="557768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-DE" sz="16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Astro Example: </a:t>
            </a:r>
            <a:r>
              <a:rPr kumimoji="0" lang="en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Have it help write (and personalise) your job applications, proposals, research papers! Thesis! Introduction (e.g. deep research)</a:t>
            </a:r>
          </a:p>
        </p:txBody>
      </p:sp>
    </p:spTree>
    <p:extLst>
      <p:ext uri="{BB962C8B-B14F-4D97-AF65-F5344CB8AC3E}">
        <p14:creationId xmlns:p14="http://schemas.microsoft.com/office/powerpoint/2010/main" val="42477898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524636-3BF5-780F-D79E-0928013A13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003E08D-A9CF-DF1D-0A41-D595BDE3E6DC}"/>
              </a:ext>
            </a:extLst>
          </p:cNvPr>
          <p:cNvSpPr>
            <a:spLocks noGrp="1"/>
          </p:cNvSpPr>
          <p:nvPr>
            <p:ph type="ftr" sz="quarter" idx="61"/>
          </p:nvPr>
        </p:nvSpPr>
        <p:spPr/>
        <p:txBody>
          <a:bodyPr/>
          <a:lstStyle/>
          <a:p>
            <a:r>
              <a:rPr lang="en-US" noProof="0"/>
              <a:t>ZEISS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76A05F7-FC90-7FE5-E75A-5C871F41BA96}"/>
              </a:ext>
            </a:extLst>
          </p:cNvPr>
          <p:cNvSpPr>
            <a:spLocks noGrp="1"/>
          </p:cNvSpPr>
          <p:nvPr>
            <p:ph type="sldNum" sz="quarter" idx="62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6</a:t>
            </a:fld>
            <a:endParaRPr lang="en-US" noProof="0"/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8CF85836-435E-9E14-0F89-8506C77F1A5D}"/>
              </a:ext>
            </a:extLst>
          </p:cNvPr>
          <p:cNvSpPr>
            <a:spLocks noGrp="1"/>
          </p:cNvSpPr>
          <p:nvPr>
            <p:ph type="dt" sz="half" idx="60"/>
          </p:nvPr>
        </p:nvSpPr>
        <p:spPr/>
        <p:txBody>
          <a:bodyPr/>
          <a:lstStyle/>
          <a:p>
            <a:fld id="{0FC8FB8A-5F87-4612-8394-67244948451F}" type="datetime3">
              <a:rPr lang="en-US" noProof="0" smtClean="0"/>
              <a:t>6 June 2025</a:t>
            </a:fld>
            <a:endParaRPr lang="en-US" noProof="0"/>
          </a:p>
        </p:txBody>
      </p:sp>
      <p:pic>
        <p:nvPicPr>
          <p:cNvPr id="3" name="Picture 2" descr="A person wearing sunglasses and standing on a beach&#10;&#10;AI-generated content may be incorrect.">
            <a:extLst>
              <a:ext uri="{FF2B5EF4-FFF2-40B4-BE49-F238E27FC236}">
                <a16:creationId xmlns:a16="http://schemas.microsoft.com/office/drawing/2014/main" id="{2F5D959E-5B3F-C92B-64E9-BB80443B3A1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20725" y="1376287"/>
            <a:ext cx="2342115" cy="2342115"/>
          </a:xfrm>
          <a:prstGeom prst="rect">
            <a:avLst/>
          </a:prstGeom>
        </p:spPr>
      </p:pic>
      <p:pic>
        <p:nvPicPr>
          <p:cNvPr id="4" name="Picture 3" descr="A person holding a tablet&#10;&#10;AI-generated content may be incorrect.">
            <a:extLst>
              <a:ext uri="{FF2B5EF4-FFF2-40B4-BE49-F238E27FC236}">
                <a16:creationId xmlns:a16="http://schemas.microsoft.com/office/drawing/2014/main" id="{C6D1EBF2-36A0-F640-54A3-FD3876DCC0F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573977" y="3718402"/>
            <a:ext cx="2342117" cy="2342117"/>
          </a:xfrm>
          <a:prstGeom prst="rect">
            <a:avLst/>
          </a:prstGeom>
        </p:spPr>
      </p:pic>
      <p:pic>
        <p:nvPicPr>
          <p:cNvPr id="5" name="Picture 4" descr="A person holding a tennis racket and a plate of food&#10;&#10;AI-generated content may be incorrect.">
            <a:extLst>
              <a:ext uri="{FF2B5EF4-FFF2-40B4-BE49-F238E27FC236}">
                <a16:creationId xmlns:a16="http://schemas.microsoft.com/office/drawing/2014/main" id="{A9E87E56-7741-4EB0-3F79-DFD4FC3AFBB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560150" y="2687305"/>
            <a:ext cx="2342116" cy="2342116"/>
          </a:xfrm>
          <a:prstGeom prst="rect">
            <a:avLst/>
          </a:prstGeom>
        </p:spPr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4EB02359-A6F5-D032-3155-58E2FB2F71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9" y="299633"/>
            <a:ext cx="9740106" cy="369332"/>
          </a:xfrm>
        </p:spPr>
        <p:txBody>
          <a:bodyPr>
            <a:normAutofit/>
          </a:bodyPr>
          <a:lstStyle/>
          <a:p>
            <a:r>
              <a:rPr lang="en-US" dirty="0"/>
              <a:t>GenAI use-case @ ZEISS</a:t>
            </a:r>
            <a:endParaRPr lang="en-DE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64F4140-4B75-8CDB-72AB-D8CFE65BB00A}"/>
              </a:ext>
            </a:extLst>
          </p:cNvPr>
          <p:cNvSpPr txBox="1"/>
          <p:nvPr/>
        </p:nvSpPr>
        <p:spPr>
          <a:xfrm>
            <a:off x="400521" y="636052"/>
            <a:ext cx="102098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dirty="0"/>
              <a:t>ZEISS Example: Automatically generate podcasts, based on Ben’s interests:  trip to Dubai in May 2025</a:t>
            </a:r>
          </a:p>
        </p:txBody>
      </p:sp>
      <p:pic>
        <p:nvPicPr>
          <p:cNvPr id="9" name="Immersive Events &amp; Smart City Highlights.mp3.trimmed">
            <a:hlinkClick r:id="" action="ppaction://media"/>
            <a:extLst>
              <a:ext uri="{FF2B5EF4-FFF2-40B4-BE49-F238E27FC236}">
                <a16:creationId xmlns:a16="http://schemas.microsoft.com/office/drawing/2014/main" id="{990FE957-FF87-99ED-B661-38AAA8C0CE60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1"/>
          <a:stretch>
            <a:fillRect/>
          </a:stretch>
        </p:blipFill>
        <p:spPr>
          <a:xfrm>
            <a:off x="9445625" y="5830627"/>
            <a:ext cx="812800" cy="812800"/>
          </a:xfrm>
          <a:prstGeom prst="rect">
            <a:avLst/>
          </a:prstGeom>
        </p:spPr>
      </p:pic>
      <p:pic>
        <p:nvPicPr>
          <p:cNvPr id="10" name="Desert Safaris &amp; Green Experiences.mp3.trimmed">
            <a:hlinkClick r:id="" action="ppaction://media"/>
            <a:extLst>
              <a:ext uri="{FF2B5EF4-FFF2-40B4-BE49-F238E27FC236}">
                <a16:creationId xmlns:a16="http://schemas.microsoft.com/office/drawing/2014/main" id="{462F06A0-6AD4-5CE9-8AAB-D576C3A5A572}"/>
              </a:ext>
            </a:extLst>
          </p:cNvPr>
          <p:cNvPicPr>
            <a:picLocks noChangeAspect="1"/>
          </p:cNvPicPr>
          <p:nvPr>
            <a:audi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11"/>
          <a:stretch>
            <a:fillRect/>
          </a:stretch>
        </p:blipFill>
        <p:spPr>
          <a:xfrm>
            <a:off x="1785382" y="3429000"/>
            <a:ext cx="812800" cy="812800"/>
          </a:xfrm>
          <a:prstGeom prst="rect">
            <a:avLst/>
          </a:prstGeom>
        </p:spPr>
      </p:pic>
      <p:pic>
        <p:nvPicPr>
          <p:cNvPr id="12" name="Culinary Journeys &amp; Local Food Culture Overview.mp3.trimmed">
            <a:hlinkClick r:id="" action="ppaction://media"/>
            <a:extLst>
              <a:ext uri="{FF2B5EF4-FFF2-40B4-BE49-F238E27FC236}">
                <a16:creationId xmlns:a16="http://schemas.microsoft.com/office/drawing/2014/main" id="{97AB8A78-5020-D990-02EE-C4860686D8EC}"/>
              </a:ext>
            </a:extLst>
          </p:cNvPr>
          <p:cNvPicPr>
            <a:picLocks noChangeAspect="1"/>
          </p:cNvPicPr>
          <p:nvPr>
            <a:audioFile r:link="rId6"/>
            <p:extLst>
              <p:ext uri="{DAA4B4D4-6D71-4841-9C94-3DE7FCFB9230}">
                <p14:media xmlns:p14="http://schemas.microsoft.com/office/powerpoint/2010/main" r:embed="rId5"/>
              </p:ext>
            </p:extLst>
          </p:nvPr>
        </p:nvPicPr>
        <p:blipFill>
          <a:blip r:embed="rId11"/>
          <a:stretch>
            <a:fillRect/>
          </a:stretch>
        </p:blipFill>
        <p:spPr>
          <a:xfrm>
            <a:off x="5324808" y="4889460"/>
            <a:ext cx="812800" cy="81280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40C312B9-0490-586E-60F4-A02FC2B66443}"/>
              </a:ext>
            </a:extLst>
          </p:cNvPr>
          <p:cNvSpPr txBox="1"/>
          <p:nvPr/>
        </p:nvSpPr>
        <p:spPr>
          <a:xfrm rot="2125221">
            <a:off x="9611534" y="957052"/>
            <a:ext cx="2780403" cy="413723"/>
          </a:xfrm>
          <a:prstGeom prst="rect">
            <a:avLst/>
          </a:prstGeom>
          <a:solidFill>
            <a:srgbClr val="FFC000">
              <a:alpha val="94000"/>
            </a:srgb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000" b="1" i="1"/>
              <a:t>Food for thought</a:t>
            </a:r>
            <a:endParaRPr lang="en-DE" sz="2000" i="1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B3B9BCF-F91C-10EC-B332-C84D11CA3844}"/>
              </a:ext>
            </a:extLst>
          </p:cNvPr>
          <p:cNvSpPr txBox="1"/>
          <p:nvPr/>
        </p:nvSpPr>
        <p:spPr>
          <a:xfrm>
            <a:off x="698649" y="5754657"/>
            <a:ext cx="546303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-DE" sz="16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Astro example</a:t>
            </a:r>
            <a:r>
              <a:rPr kumimoji="0" lang="en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: Create podcasts about your work for outreach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5C09DB8-67A3-3262-7810-1FA45B11CAE3}"/>
              </a:ext>
            </a:extLst>
          </p:cNvPr>
          <p:cNvSpPr txBox="1"/>
          <p:nvPr/>
        </p:nvSpPr>
        <p:spPr>
          <a:xfrm>
            <a:off x="698649" y="6104982"/>
            <a:ext cx="7099700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-DE" sz="16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ZEISS example</a:t>
            </a:r>
            <a:r>
              <a:rPr kumimoji="0" lang="en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: Create training material, specific to a user, target knowledge base</a:t>
            </a:r>
          </a:p>
        </p:txBody>
      </p:sp>
    </p:spTree>
    <p:extLst>
      <p:ext uri="{BB962C8B-B14F-4D97-AF65-F5344CB8AC3E}">
        <p14:creationId xmlns:p14="http://schemas.microsoft.com/office/powerpoint/2010/main" val="14670349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67224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0" dur="286176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4" dur="265080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15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9"/>
                </p:tgtEl>
              </p:cMediaNode>
            </p:audio>
            <p:audio>
              <p:cMediaNode vol="80000">
                <p:cTn id="16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0"/>
                </p:tgtEl>
              </p:cMediaNode>
            </p:audio>
            <p:audio>
              <p:cMediaNode vol="80000">
                <p:cTn id="1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2"/>
                </p:tgtEl>
              </p:cMediaNode>
            </p:audio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94CA75-F2BD-6401-CB77-FE313F6A79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7FEE52B-A0F9-B915-8E47-90985A54DEA9}"/>
              </a:ext>
            </a:extLst>
          </p:cNvPr>
          <p:cNvSpPr>
            <a:spLocks noGrp="1"/>
          </p:cNvSpPr>
          <p:nvPr>
            <p:ph type="ftr" sz="quarter" idx="61"/>
          </p:nvPr>
        </p:nvSpPr>
        <p:spPr/>
        <p:txBody>
          <a:bodyPr/>
          <a:lstStyle/>
          <a:p>
            <a:r>
              <a:rPr lang="en-US" noProof="0"/>
              <a:t>ZEISS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50C3E3F-AF66-EBE8-69A5-5E7F66C4DFAA}"/>
              </a:ext>
            </a:extLst>
          </p:cNvPr>
          <p:cNvSpPr>
            <a:spLocks noGrp="1"/>
          </p:cNvSpPr>
          <p:nvPr>
            <p:ph type="sldNum" sz="quarter" idx="62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7</a:t>
            </a:fld>
            <a:endParaRPr lang="en-US" noProof="0"/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A81BE553-FE3C-7443-38B7-5081865C9064}"/>
              </a:ext>
            </a:extLst>
          </p:cNvPr>
          <p:cNvSpPr>
            <a:spLocks noGrp="1"/>
          </p:cNvSpPr>
          <p:nvPr>
            <p:ph type="dt" sz="half" idx="60"/>
          </p:nvPr>
        </p:nvSpPr>
        <p:spPr/>
        <p:txBody>
          <a:bodyPr/>
          <a:lstStyle/>
          <a:p>
            <a:fld id="{0FC8FB8A-5F87-4612-8394-67244948451F}" type="datetime3">
              <a:rPr lang="en-US" noProof="0" smtClean="0"/>
              <a:t>4 June 2025</a:t>
            </a:fld>
            <a:endParaRPr lang="en-US" noProof="0"/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54A8040A-990A-4B88-0384-29A4076B9F31}"/>
              </a:ext>
            </a:extLst>
          </p:cNvPr>
          <p:cNvSpPr txBox="1">
            <a:spLocks/>
          </p:cNvSpPr>
          <p:nvPr/>
        </p:nvSpPr>
        <p:spPr>
          <a:xfrm>
            <a:off x="11573471" y="6687622"/>
            <a:ext cx="102592" cy="123111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A0EB65E-EFD4-40A5-B1F2-35EAFE9C1ABE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9444FC37-EAD3-0FCF-0C1A-4914EACA4AFC}"/>
              </a:ext>
            </a:extLst>
          </p:cNvPr>
          <p:cNvSpPr txBox="1">
            <a:spLocks/>
          </p:cNvSpPr>
          <p:nvPr/>
        </p:nvSpPr>
        <p:spPr>
          <a:xfrm>
            <a:off x="11573471" y="6687622"/>
            <a:ext cx="102592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A0EB65E-EFD4-40A5-B1F2-35EAFE9C1ABE}" type="slidenum">
              <a:rPr lang="en-US" smtClean="0">
                <a:solidFill>
                  <a:schemeClr val="bg1"/>
                </a:solidFill>
              </a:rPr>
              <a:pPr/>
              <a:t>7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16" name="Title 12">
            <a:extLst>
              <a:ext uri="{FF2B5EF4-FFF2-40B4-BE49-F238E27FC236}">
                <a16:creationId xmlns:a16="http://schemas.microsoft.com/office/drawing/2014/main" id="{8AB73221-6B9B-4D47-E0BB-E8C911AFF6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9" y="299633"/>
            <a:ext cx="6878162" cy="738664"/>
          </a:xfrm>
        </p:spPr>
        <p:txBody>
          <a:bodyPr vert="horz">
            <a:normAutofit/>
          </a:bodyPr>
          <a:lstStyle/>
          <a:p>
            <a:r>
              <a:rPr lang="en-US"/>
              <a:t>New tools coming online every day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F8C5202-446A-C884-A429-F0CB7C17326A}"/>
              </a:ext>
            </a:extLst>
          </p:cNvPr>
          <p:cNvSpPr txBox="1"/>
          <p:nvPr/>
        </p:nvSpPr>
        <p:spPr>
          <a:xfrm rot="2125221">
            <a:off x="9611534" y="957052"/>
            <a:ext cx="2780403" cy="413723"/>
          </a:xfrm>
          <a:prstGeom prst="rect">
            <a:avLst/>
          </a:prstGeom>
          <a:solidFill>
            <a:srgbClr val="FFC000">
              <a:alpha val="94000"/>
            </a:srgb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000" b="1" i="1"/>
              <a:t>Food for thought</a:t>
            </a:r>
            <a:endParaRPr lang="en-DE" sz="2000" i="1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5112738-0E6F-7A82-2C7D-B362059EE046}"/>
              </a:ext>
            </a:extLst>
          </p:cNvPr>
          <p:cNvSpPr txBox="1"/>
          <p:nvPr/>
        </p:nvSpPr>
        <p:spPr>
          <a:xfrm>
            <a:off x="406169" y="1310026"/>
            <a:ext cx="64975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DE">
                <a:hlinkClick r:id="rId2"/>
              </a:rPr>
              <a:t>https://huggingface.co/spaces/ByteDance/DreamO</a:t>
            </a:r>
            <a:r>
              <a:rPr lang="en-DE"/>
              <a:t> 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62DB07D-4998-C5E3-27AF-8A6CBA5E3AD9}"/>
              </a:ext>
            </a:extLst>
          </p:cNvPr>
          <p:cNvSpPr txBox="1"/>
          <p:nvPr/>
        </p:nvSpPr>
        <p:spPr>
          <a:xfrm>
            <a:off x="542620" y="726977"/>
            <a:ext cx="4650312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-DE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Think abo</a:t>
            </a:r>
            <a:r>
              <a:rPr kumimoji="0" lang="en-GB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ut</a:t>
            </a:r>
            <a:r>
              <a:rPr kumimoji="0" lang="en-DE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 tomorrow’s tech tod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ay</a:t>
            </a:r>
            <a:r>
              <a:rPr kumimoji="0" lang="en-DE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!</a:t>
            </a:r>
          </a:p>
        </p:txBody>
      </p:sp>
      <p:pic>
        <p:nvPicPr>
          <p:cNvPr id="26" name="Picture 25" descr="A screenshot of a person wearing sunglasses&#10;&#10;AI-generated content may be incorrect.">
            <a:extLst>
              <a:ext uri="{FF2B5EF4-FFF2-40B4-BE49-F238E27FC236}">
                <a16:creationId xmlns:a16="http://schemas.microsoft.com/office/drawing/2014/main" id="{BAC42F3D-1DA9-282A-8FDA-F16FB819689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8047" y="3360754"/>
            <a:ext cx="5328016" cy="3242686"/>
          </a:xfrm>
          <a:prstGeom prst="rect">
            <a:avLst/>
          </a:prstGeom>
        </p:spPr>
      </p:pic>
      <p:pic>
        <p:nvPicPr>
          <p:cNvPr id="28" name="Picture 27" descr="A screenshot of a person wearing sunglasses&#10;&#10;AI-generated content may be incorrect.">
            <a:extLst>
              <a:ext uri="{FF2B5EF4-FFF2-40B4-BE49-F238E27FC236}">
                <a16:creationId xmlns:a16="http://schemas.microsoft.com/office/drawing/2014/main" id="{6764ADD9-4198-4378-9CD4-D9FB8B58E44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401" y="1679358"/>
            <a:ext cx="5213398" cy="2798063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472AF429-63E9-C79F-EF4B-84121768562A}"/>
              </a:ext>
            </a:extLst>
          </p:cNvPr>
          <p:cNvSpPr txBox="1"/>
          <p:nvPr/>
        </p:nvSpPr>
        <p:spPr>
          <a:xfrm>
            <a:off x="6572202" y="1891989"/>
            <a:ext cx="5213398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Within ~1-2 months, we will be able to make any image &amp; even video editing changes that we like from refrence images/video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A14A585-8F45-4805-B460-AAEC0CC5A559}"/>
              </a:ext>
            </a:extLst>
          </p:cNvPr>
          <p:cNvSpPr txBox="1"/>
          <p:nvPr/>
        </p:nvSpPr>
        <p:spPr>
          <a:xfrm>
            <a:off x="408541" y="4505386"/>
            <a:ext cx="240723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DE"/>
              <a:t> </a:t>
            </a:r>
            <a:r>
              <a:rPr lang="en-DE">
                <a:hlinkClick r:id="rId5"/>
              </a:rPr>
              <a:t>https://framepack.co/</a:t>
            </a:r>
            <a:r>
              <a:rPr lang="en-DE"/>
              <a:t>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B3FD1DB-825D-6263-7447-C78DF44DC4F9}"/>
              </a:ext>
            </a:extLst>
          </p:cNvPr>
          <p:cNvSpPr txBox="1"/>
          <p:nvPr/>
        </p:nvSpPr>
        <p:spPr>
          <a:xfrm>
            <a:off x="542620" y="5297329"/>
            <a:ext cx="4429125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-DE" sz="16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Astro example</a:t>
            </a:r>
            <a:r>
              <a:rPr kumimoji="0" lang="en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: Data inpainting, with correct properties </a:t>
            </a:r>
            <a:r>
              <a:rPr kumimoji="0" lang="en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  <a:sym typeface="Wingdings" pitchFamily="2" charset="2"/>
              </a:rPr>
              <a:t> can this be extracted by e.g. S-eXtractor?</a:t>
            </a:r>
            <a:endParaRPr kumimoji="0" lang="en-DE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30618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BAFF7F-4A27-FC8B-C167-A27C088703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E52813F-D212-A9E2-D396-294CABDA3FF9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849454A0-EBCC-4CD8-85B9-290E4583EC11}" type="datetime3">
              <a:rPr lang="en-US" noProof="0" smtClean="0"/>
              <a:t>6 June 2025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F78602-0862-3799-6179-73817FEDCCD8}"/>
              </a:ext>
            </a:extLst>
          </p:cNvPr>
          <p:cNvSpPr>
            <a:spLocks noGrp="1"/>
          </p:cNvSpPr>
          <p:nvPr>
            <p:ph type="ftr" sz="quarter" idx="65"/>
          </p:nvPr>
        </p:nvSpPr>
        <p:spPr/>
        <p:txBody>
          <a:bodyPr/>
          <a:lstStyle/>
          <a:p>
            <a:r>
              <a:rPr lang="en-US" noProof="0"/>
              <a:t>ZEIS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F77AF2B-3A7B-F93D-826D-4889347EC92F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8</a:t>
            </a:fld>
            <a:endParaRPr lang="en-US" noProof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B953E180-E046-5D8C-8B50-72F3A94BD9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9" y="299633"/>
            <a:ext cx="9740106" cy="369332"/>
          </a:xfrm>
        </p:spPr>
        <p:txBody>
          <a:bodyPr/>
          <a:lstStyle/>
          <a:p>
            <a:r>
              <a:rPr lang="en-GB" dirty="0"/>
              <a:t>Nov ‘22: GPT 3 landed</a:t>
            </a:r>
            <a:endParaRPr lang="en-DE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025EA173-72AB-1CE6-8F58-2AD062D43108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518319" y="642855"/>
            <a:ext cx="9740106" cy="369332"/>
          </a:xfrm>
        </p:spPr>
        <p:txBody>
          <a:bodyPr/>
          <a:lstStyle/>
          <a:p>
            <a:r>
              <a:rPr lang="en-DE" dirty="0"/>
              <a:t>ZEISS example: try to write a function</a:t>
            </a:r>
          </a:p>
        </p:txBody>
      </p:sp>
      <p:sp>
        <p:nvSpPr>
          <p:cNvPr id="4" name="Bent Arrow 3">
            <a:extLst>
              <a:ext uri="{FF2B5EF4-FFF2-40B4-BE49-F238E27FC236}">
                <a16:creationId xmlns:a16="http://schemas.microsoft.com/office/drawing/2014/main" id="{E88ED489-C72F-AA4D-A1C7-41AEE39FC4DB}"/>
              </a:ext>
            </a:extLst>
          </p:cNvPr>
          <p:cNvSpPr/>
          <p:nvPr/>
        </p:nvSpPr>
        <p:spPr>
          <a:xfrm flipV="1">
            <a:off x="1211284" y="4291668"/>
            <a:ext cx="4104428" cy="1743372"/>
          </a:xfrm>
          <a:prstGeom prst="bentArrow">
            <a:avLst>
              <a:gd name="adj1" fmla="val 37055"/>
              <a:gd name="adj2" fmla="val 38777"/>
              <a:gd name="adj3" fmla="val 25000"/>
              <a:gd name="adj4" fmla="val 43750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EE5CA72-6D37-82E1-BA3B-37E60E629700}"/>
              </a:ext>
            </a:extLst>
          </p:cNvPr>
          <p:cNvSpPr txBox="1"/>
          <p:nvPr/>
        </p:nvSpPr>
        <p:spPr>
          <a:xfrm>
            <a:off x="1956314" y="5046141"/>
            <a:ext cx="2539157" cy="65659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none" lIns="0" tIns="0" rIns="0" bIns="0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800"/>
              </a:spcAft>
            </a:pPr>
            <a:r>
              <a:rPr lang="en-GB">
                <a:solidFill>
                  <a:srgbClr val="000000"/>
                </a:solidFill>
                <a:latin typeface="ZEISS Frutiger Next W1G"/>
              </a:rPr>
              <a:t>o</a:t>
            </a:r>
            <a:r>
              <a:rPr lang="en-DE">
                <a:solidFill>
                  <a:srgbClr val="000000"/>
                </a:solidFill>
                <a:latin typeface="ZEISS Frutiger Next W1G"/>
              </a:rPr>
              <a:t>1 + 20 seconds + 5 mins </a:t>
            </a:r>
          </a:p>
          <a:p>
            <a:pPr algn="ctr" eaLnBrk="1" fontAlgn="auto" hangingPunct="1">
              <a:spcBef>
                <a:spcPts val="0"/>
              </a:spcBef>
              <a:spcAft>
                <a:spcPts val="800"/>
              </a:spcAft>
            </a:pPr>
            <a:r>
              <a:rPr lang="en-GB">
                <a:solidFill>
                  <a:srgbClr val="000000"/>
                </a:solidFill>
                <a:latin typeface="ZEISS Frutiger Next W1G"/>
              </a:rPr>
              <a:t>i</a:t>
            </a:r>
            <a:r>
              <a:rPr lang="en-DE">
                <a:solidFill>
                  <a:srgbClr val="000000"/>
                </a:solidFill>
                <a:latin typeface="ZEISS Frutiger Next W1G"/>
              </a:rPr>
              <a:t>mplementatio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0DE2889-A529-35DA-535A-EF1DDCF41F93}"/>
              </a:ext>
            </a:extLst>
          </p:cNvPr>
          <p:cNvSpPr txBox="1"/>
          <p:nvPr/>
        </p:nvSpPr>
        <p:spPr>
          <a:xfrm rot="2125221">
            <a:off x="9611534" y="957052"/>
            <a:ext cx="2780403" cy="413723"/>
          </a:xfrm>
          <a:prstGeom prst="rect">
            <a:avLst/>
          </a:prstGeom>
          <a:solidFill>
            <a:srgbClr val="FFC000">
              <a:alpha val="94000"/>
            </a:srgb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000" b="1" i="1"/>
              <a:t>Food for thought</a:t>
            </a:r>
            <a:endParaRPr lang="en-DE" sz="2000" i="1"/>
          </a:p>
        </p:txBody>
      </p:sp>
      <p:pic>
        <p:nvPicPr>
          <p:cNvPr id="10" name="Picture 9" descr="A screenshot of a graph&#10;&#10;AI-generated content may be incorrect.">
            <a:extLst>
              <a:ext uri="{FF2B5EF4-FFF2-40B4-BE49-F238E27FC236}">
                <a16:creationId xmlns:a16="http://schemas.microsoft.com/office/drawing/2014/main" id="{C856BBC3-F3A4-E8F4-BD64-C31F1482547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241" y="1163913"/>
            <a:ext cx="9622898" cy="541174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8390794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A31F8C1-2D77-344D-5C78-03141E53B820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849454A0-EBCC-4CD8-85B9-290E4583EC11}" type="datetime3">
              <a:rPr lang="en-US" noProof="0" smtClean="0"/>
              <a:t>6 June 2025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CC8E8F8-74DE-3E1E-73FB-5F64B154BF8B}"/>
              </a:ext>
            </a:extLst>
          </p:cNvPr>
          <p:cNvSpPr>
            <a:spLocks noGrp="1"/>
          </p:cNvSpPr>
          <p:nvPr>
            <p:ph type="ftr" sz="quarter" idx="65"/>
          </p:nvPr>
        </p:nvSpPr>
        <p:spPr/>
        <p:txBody>
          <a:bodyPr/>
          <a:lstStyle/>
          <a:p>
            <a:r>
              <a:rPr lang="en-US" noProof="0"/>
              <a:t>ZEIS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C0D62C6-E747-DC84-8EA9-22865AECC0AF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9</a:t>
            </a:fld>
            <a:endParaRPr lang="en-US" noProof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6140E95-9479-EEE5-2C49-EEC2DB9D72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9" y="299633"/>
            <a:ext cx="9740106" cy="369332"/>
          </a:xfrm>
        </p:spPr>
        <p:txBody>
          <a:bodyPr/>
          <a:lstStyle/>
          <a:p>
            <a:r>
              <a:rPr lang="en-GB" dirty="0"/>
              <a:t>Dec ’24: GPT o1 landed</a:t>
            </a:r>
            <a:endParaRPr lang="en-DE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0F571D5-7445-5A54-31F3-67F5798AC2B9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518319" y="642855"/>
            <a:ext cx="9740106" cy="369332"/>
          </a:xfrm>
        </p:spPr>
        <p:txBody>
          <a:bodyPr/>
          <a:lstStyle/>
          <a:p>
            <a:r>
              <a:rPr lang="en-DE" dirty="0"/>
              <a:t>ZEISS example: 20 seconds of o1 thinking --&gt; out of the box solution</a:t>
            </a:r>
          </a:p>
        </p:txBody>
      </p:sp>
      <p:pic>
        <p:nvPicPr>
          <p:cNvPr id="17" name="Picture 16" descr="A screenshot of a chat&#10;&#10;Description automatically generated">
            <a:extLst>
              <a:ext uri="{FF2B5EF4-FFF2-40B4-BE49-F238E27FC236}">
                <a16:creationId xmlns:a16="http://schemas.microsoft.com/office/drawing/2014/main" id="{C44DAEA1-4003-7353-59A4-44FB777A922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4945" y="4382490"/>
            <a:ext cx="6449413" cy="203412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9" name="Picture 18" descr="A screenshot of a computer&#10;&#10;Description automatically generated">
            <a:extLst>
              <a:ext uri="{FF2B5EF4-FFF2-40B4-BE49-F238E27FC236}">
                <a16:creationId xmlns:a16="http://schemas.microsoft.com/office/drawing/2014/main" id="{2404DFA2-8B7A-486B-4BB8-757280C07BC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09742" y="1152189"/>
            <a:ext cx="5976571" cy="299947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2" name="Picture 21" descr="A screen shot of a machine&#10;&#10;Description automatically generated">
            <a:extLst>
              <a:ext uri="{FF2B5EF4-FFF2-40B4-BE49-F238E27FC236}">
                <a16:creationId xmlns:a16="http://schemas.microsoft.com/office/drawing/2014/main" id="{4CE01248-B3AD-764C-D356-05D91B575A7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6124" y="1182867"/>
            <a:ext cx="3348234" cy="301648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" name="Picture 2" descr="A yellow and blue background with white text&#10;&#10;Description automatically generated">
            <a:extLst>
              <a:ext uri="{FF2B5EF4-FFF2-40B4-BE49-F238E27FC236}">
                <a16:creationId xmlns:a16="http://schemas.microsoft.com/office/drawing/2014/main" id="{1DE8DC33-8A9E-BD60-6BEC-20FC48F685E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2666" y="1882125"/>
            <a:ext cx="1312945" cy="73770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73E9BEF-A0BE-62D6-C4AE-387749D7F123}"/>
              </a:ext>
            </a:extLst>
          </p:cNvPr>
          <p:cNvSpPr txBox="1"/>
          <p:nvPr/>
        </p:nvSpPr>
        <p:spPr>
          <a:xfrm>
            <a:off x="5758426" y="1367517"/>
            <a:ext cx="2547836" cy="12618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Front </a:t>
            </a:r>
            <a:r>
              <a:rPr kumimoji="0" lang="en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end rebuild was as </a:t>
            </a:r>
            <a:r>
              <a:rPr kumimoji="0" lang="en-DE" sz="16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complex</a:t>
            </a:r>
            <a:r>
              <a:rPr kumimoji="0" lang="en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 task that Ben had been </a:t>
            </a:r>
            <a:r>
              <a:rPr kumimoji="0" lang="en-DE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putting off for 3 months</a:t>
            </a:r>
            <a:r>
              <a:rPr kumimoji="0" lang="en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. </a:t>
            </a:r>
            <a:r>
              <a:rPr lang="en-GB">
                <a:solidFill>
                  <a:srgbClr val="000000"/>
                </a:solidFill>
                <a:latin typeface="ZEISS Frutiger Next W1G"/>
              </a:rPr>
              <a:t>o</a:t>
            </a:r>
            <a:r>
              <a:rPr kumimoji="0" lang="en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1 solved it in 20 secs. 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W</a:t>
            </a:r>
            <a:r>
              <a:rPr kumimoji="0" lang="en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ith its </a:t>
            </a:r>
            <a:r>
              <a:rPr kumimoji="0" lang="en-DE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eyes closed</a:t>
            </a:r>
            <a:r>
              <a:rPr kumimoji="0" lang="en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! </a:t>
            </a:r>
          </a:p>
        </p:txBody>
      </p:sp>
      <p:sp>
        <p:nvSpPr>
          <p:cNvPr id="4" name="Bent Arrow 3">
            <a:extLst>
              <a:ext uri="{FF2B5EF4-FFF2-40B4-BE49-F238E27FC236}">
                <a16:creationId xmlns:a16="http://schemas.microsoft.com/office/drawing/2014/main" id="{D49E744E-F29C-25D7-1E2E-E02EECB57384}"/>
              </a:ext>
            </a:extLst>
          </p:cNvPr>
          <p:cNvSpPr/>
          <p:nvPr/>
        </p:nvSpPr>
        <p:spPr>
          <a:xfrm flipV="1">
            <a:off x="1211284" y="4291668"/>
            <a:ext cx="4104428" cy="1743372"/>
          </a:xfrm>
          <a:prstGeom prst="bentArrow">
            <a:avLst>
              <a:gd name="adj1" fmla="val 37055"/>
              <a:gd name="adj2" fmla="val 38777"/>
              <a:gd name="adj3" fmla="val 25000"/>
              <a:gd name="adj4" fmla="val 43750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F772A52-64BF-FFCF-A50D-4E53A39B2E8F}"/>
              </a:ext>
            </a:extLst>
          </p:cNvPr>
          <p:cNvSpPr txBox="1"/>
          <p:nvPr/>
        </p:nvSpPr>
        <p:spPr>
          <a:xfrm>
            <a:off x="1956314" y="5046141"/>
            <a:ext cx="2539157" cy="65659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none" lIns="0" tIns="0" rIns="0" bIns="0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800"/>
              </a:spcAft>
            </a:pPr>
            <a:r>
              <a:rPr lang="en-GB">
                <a:solidFill>
                  <a:srgbClr val="000000"/>
                </a:solidFill>
                <a:latin typeface="ZEISS Frutiger Next W1G"/>
              </a:rPr>
              <a:t>o</a:t>
            </a:r>
            <a:r>
              <a:rPr lang="en-DE">
                <a:solidFill>
                  <a:srgbClr val="000000"/>
                </a:solidFill>
                <a:latin typeface="ZEISS Frutiger Next W1G"/>
              </a:rPr>
              <a:t>1 + 20 seconds + 5 mins </a:t>
            </a:r>
          </a:p>
          <a:p>
            <a:pPr algn="ctr" eaLnBrk="1" fontAlgn="auto" hangingPunct="1">
              <a:spcBef>
                <a:spcPts val="0"/>
              </a:spcBef>
              <a:spcAft>
                <a:spcPts val="800"/>
              </a:spcAft>
            </a:pPr>
            <a:r>
              <a:rPr lang="en-GB">
                <a:solidFill>
                  <a:srgbClr val="000000"/>
                </a:solidFill>
                <a:latin typeface="ZEISS Frutiger Next W1G"/>
              </a:rPr>
              <a:t>i</a:t>
            </a:r>
            <a:r>
              <a:rPr lang="en-DE">
                <a:solidFill>
                  <a:srgbClr val="000000"/>
                </a:solidFill>
                <a:latin typeface="ZEISS Frutiger Next W1G"/>
              </a:rPr>
              <a:t>mplementatio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671FA56-823F-55AE-9D80-EBFA63E89073}"/>
              </a:ext>
            </a:extLst>
          </p:cNvPr>
          <p:cNvSpPr txBox="1"/>
          <p:nvPr/>
        </p:nvSpPr>
        <p:spPr>
          <a:xfrm rot="2125221">
            <a:off x="9611534" y="957052"/>
            <a:ext cx="2780403" cy="413723"/>
          </a:xfrm>
          <a:prstGeom prst="rect">
            <a:avLst/>
          </a:prstGeom>
          <a:solidFill>
            <a:srgbClr val="FFC000">
              <a:alpha val="94000"/>
            </a:srgb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000" b="1" i="1"/>
              <a:t>Food for thought</a:t>
            </a:r>
            <a:endParaRPr lang="en-DE" sz="2000" i="1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495D1B9-6C6A-7AE6-FA0D-41A8E3D8D3C8}"/>
              </a:ext>
            </a:extLst>
          </p:cNvPr>
          <p:cNvSpPr txBox="1"/>
          <p:nvPr/>
        </p:nvSpPr>
        <p:spPr>
          <a:xfrm>
            <a:off x="518319" y="5940242"/>
            <a:ext cx="4926626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-DE" sz="16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Astro example</a:t>
            </a:r>
            <a:r>
              <a:rPr kumimoji="0" lang="en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: bug fixes in complex codes like CLASS/CAMB, particle mesh simulations,…</a:t>
            </a:r>
          </a:p>
        </p:txBody>
      </p:sp>
    </p:spTree>
    <p:extLst>
      <p:ext uri="{BB962C8B-B14F-4D97-AF65-F5344CB8AC3E}">
        <p14:creationId xmlns:p14="http://schemas.microsoft.com/office/powerpoint/2010/main" val="20839523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TITLESLIDE" val="-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TITLESLIDE" val="-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TITLESLIDE" val="-1"/>
</p:tagLst>
</file>

<file path=ppt/theme/theme1.xml><?xml version="1.0" encoding="utf-8"?>
<a:theme xmlns:a="http://schemas.openxmlformats.org/drawingml/2006/main" name="ZEISS_EN">
  <a:themeElements>
    <a:clrScheme name="ZEISS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72EF"/>
      </a:accent1>
      <a:accent2>
        <a:srgbClr val="4895DD"/>
      </a:accent2>
      <a:accent3>
        <a:srgbClr val="6AB0E2"/>
      </a:accent3>
      <a:accent4>
        <a:srgbClr val="A7CCED"/>
      </a:accent4>
      <a:accent5>
        <a:srgbClr val="C6DAF2"/>
      </a:accent5>
      <a:accent6>
        <a:srgbClr val="E3F1FC"/>
      </a:accent6>
      <a:hlink>
        <a:srgbClr val="0072EF"/>
      </a:hlink>
      <a:folHlink>
        <a:srgbClr val="000000"/>
      </a:folHlink>
    </a:clrScheme>
    <a:fontScheme name="ZEISS">
      <a:majorFont>
        <a:latin typeface="ZEISS Frutiger Next W1G Heavy"/>
        <a:ea typeface=""/>
        <a:cs typeface=""/>
      </a:majorFont>
      <a:minorFont>
        <a:latin typeface="ZEISS Frutiger Next W1G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2F5F8"/>
        </a:solidFill>
        <a:ln>
          <a:noFill/>
        </a:ln>
      </a:spPr>
      <a:bodyPr wrap="square" lIns="180000" tIns="180000" rIns="180000" bIns="180000" rtlCol="0" anchor="t" anchorCtr="0">
        <a:noAutofit/>
      </a:bodyPr>
      <a:lstStyle>
        <a:defPPr marL="0" marR="0" indent="0" algn="l" defTabSz="914400" rtl="0" eaLnBrk="1" fontAlgn="auto" latinLnBrk="0" hangingPunct="1">
          <a:lnSpc>
            <a:spcPct val="100000"/>
          </a:lnSpc>
          <a:spcBef>
            <a:spcPts val="0"/>
          </a:spcBef>
          <a:spcAft>
            <a:spcPts val="800"/>
          </a:spcAft>
          <a:buClrTx/>
          <a:buSzTx/>
          <a:buFont typeface="Arial" panose="020B0604020202020204" pitchFamily="34" charset="0"/>
          <a:buNone/>
          <a:tabLst/>
          <a:defRPr kumimoji="0" sz="1600" b="0" i="0" u="none" strike="noStrike" kern="1200" cap="none" spc="0" normalizeH="0" baseline="0" noProof="0" dirty="0">
            <a:ln>
              <a:noFill/>
            </a:ln>
            <a:solidFill>
              <a:srgbClr val="000000"/>
            </a:solidFill>
            <a:effectLst/>
            <a:uLnTx/>
            <a:uFillTx/>
            <a:latin typeface="ZEISS Frutiger Next W1G"/>
            <a:ea typeface="+mn-ea"/>
            <a:cs typeface="+mn-cs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marL="0" marR="0" indent="0" algn="l" defTabSz="914400" rtl="0" eaLnBrk="1" fontAlgn="auto" latinLnBrk="0" hangingPunct="1">
          <a:lnSpc>
            <a:spcPct val="100000"/>
          </a:lnSpc>
          <a:spcBef>
            <a:spcPts val="0"/>
          </a:spcBef>
          <a:spcAft>
            <a:spcPts val="800"/>
          </a:spcAft>
          <a:buClrTx/>
          <a:buSzTx/>
          <a:buFont typeface="Arial" panose="020B0604020202020204" pitchFamily="34" charset="0"/>
          <a:buNone/>
          <a:tabLst/>
          <a:defRPr kumimoji="0" sz="1600" b="0" i="0" u="none" strike="noStrike" kern="120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ZEISS Frutiger Next W1G"/>
            <a:ea typeface="+mn-ea"/>
            <a:cs typeface="+mn-cs"/>
          </a:defRPr>
        </a:defPPr>
      </a:lstStyle>
    </a:txDef>
  </a:objectDefaults>
  <a:extraClrSchemeLst/>
  <a:custClrLst>
    <a:custClr name="ZEISS White">
      <a:srgbClr val="FFFFFF"/>
    </a:custClr>
    <a:custClr name="ZEISS Indigo">
      <a:srgbClr val="0F2DB3"/>
    </a:custClr>
    <a:custClr name="ZEISS Black">
      <a:srgbClr val="000000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ZEISS Black">
      <a:srgbClr val="000000"/>
    </a:custClr>
    <a:custClr name="ZEISS Ultradark Gray">
      <a:srgbClr val="32373E"/>
    </a:custClr>
    <a:custClr name="ZEISS Dark Gray">
      <a:srgbClr val="4E565F"/>
    </a:custClr>
    <a:custClr name="ZEISS Semidark Gray">
      <a:srgbClr val="606A76"/>
    </a:custClr>
    <a:custClr name="ZEISS Medium Gray">
      <a:srgbClr val="778592"/>
    </a:custClr>
    <a:custClr name="ZEISS Semilight Gray">
      <a:srgbClr val="929EAB"/>
    </a:custClr>
    <a:custClr name="ZEISS Light Gray">
      <a:srgbClr val="B4C0CA"/>
    </a:custClr>
    <a:custClr name="ZEISS Ultralight Gray">
      <a:srgbClr val="DCE3E9"/>
    </a:custClr>
    <a:custClr name="ZEISS Semiwhite Gray">
      <a:srgbClr val="F2F5F8"/>
    </a:custClr>
    <a:custClr name="ZEISS White">
      <a:srgbClr val="FFFFFF"/>
    </a:custClr>
    <a:custClr name="ZEISS Purple Red">
      <a:srgbClr val="A70240"/>
    </a:custClr>
    <a:custClr name="ZEISS Bright Orange Neon">
      <a:srgbClr val="E71E1E"/>
    </a:custClr>
    <a:custClr name="ZEISS Orange">
      <a:srgbClr val="EA591B"/>
    </a:custClr>
    <a:custClr name="ZEISS Bright Lemon">
      <a:srgbClr val="FDBB08"/>
    </a:custClr>
    <a:custClr name="ZEISS Light Green">
      <a:srgbClr val="D9E906"/>
    </a:custClr>
    <a:custClr name="ZEISS Green">
      <a:srgbClr val="1E8565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</a:custClrLst>
  <a:extLst>
    <a:ext uri="{05A4C25C-085E-4340-85A3-A5531E510DB2}">
      <thm15:themeFamily xmlns:thm15="http://schemas.microsoft.com/office/thememl/2012/main" name="Präsentation1" id="{F461FC54-6F2D-4EF6-87F4-1CCD63FC7BD8}" vid="{654F8786-186C-4790-A42D-0AC4CA045867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DBA7C9CEF7F57429917BEEC53471633" ma:contentTypeVersion="6" ma:contentTypeDescription="Create a new document." ma:contentTypeScope="" ma:versionID="da61131bf31835ef44eca02b4c1b923d">
  <xsd:schema xmlns:xsd="http://www.w3.org/2001/XMLSchema" xmlns:xs="http://www.w3.org/2001/XMLSchema" xmlns:p="http://schemas.microsoft.com/office/2006/metadata/properties" xmlns:ns1="http://schemas.microsoft.com/sharepoint/v3" xmlns:ns2="b7680c80-ca03-400e-aa7f-e46cf9ec65ea" targetNamespace="http://schemas.microsoft.com/office/2006/metadata/properties" ma:root="true" ma:fieldsID="d45e00568d2d1bfdcb8086e321245869" ns1:_="" ns2:_="">
    <xsd:import namespace="http://schemas.microsoft.com/sharepoint/v3"/>
    <xsd:import namespace="b7680c80-ca03-400e-aa7f-e46cf9ec65e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1:_ip_UnifiedCompliancePolicyProperties" minOccurs="0"/>
                <xsd:element ref="ns1:_ip_UnifiedCompliancePolicyUIAction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1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2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7680c80-ca03-400e-aa7f-e46cf9ec65e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FA3349B-2FBF-4342-B6C8-BE663E5E66D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AB29623-CE4D-4D72-84CB-7E7DC0E119A2}">
  <ds:schemaRefs>
    <ds:schemaRef ds:uri="http://schemas.openxmlformats.org/package/2006/metadata/core-properties"/>
    <ds:schemaRef ds:uri="http://purl.org/dc/elements/1.1/"/>
    <ds:schemaRef ds:uri="b7680c80-ca03-400e-aa7f-e46cf9ec65ea"/>
    <ds:schemaRef ds:uri="http://schemas.microsoft.com/office/2006/metadata/properties"/>
    <ds:schemaRef ds:uri="http://purl.org/dc/terms/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E5EF71F8-384A-4795-8AD4-6BE511A68FF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b7680c80-ca03-400e-aa7f-e46cf9ec65e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ZEISS_EN</Template>
  <TotalTime>2488</TotalTime>
  <Words>1863</Words>
  <Application>Microsoft Macintosh PowerPoint</Application>
  <PresentationFormat>Widescreen</PresentationFormat>
  <Paragraphs>249</Paragraphs>
  <Slides>25</Slides>
  <Notes>0</Notes>
  <HiddenSlides>0</HiddenSlides>
  <MMClips>6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3" baseType="lpstr">
      <vt:lpstr>Arial</vt:lpstr>
      <vt:lpstr>Calibri</vt:lpstr>
      <vt:lpstr>Symbol</vt:lpstr>
      <vt:lpstr>Wingdings</vt:lpstr>
      <vt:lpstr>ZEISS Frutiger Next W1G</vt:lpstr>
      <vt:lpstr>ZEISS Frutiger Next W1G Heavy</vt:lpstr>
      <vt:lpstr>ZEISS_EN</vt:lpstr>
      <vt:lpstr>think-cell Folie</vt:lpstr>
      <vt:lpstr>Generative AI at Carl ZEISS: Riding the runaway train</vt:lpstr>
      <vt:lpstr>PowerPoint Presentation</vt:lpstr>
      <vt:lpstr>What is Generative AI?</vt:lpstr>
      <vt:lpstr>GenAI will keep getting better/scarier!</vt:lpstr>
      <vt:lpstr>GenAI will keep getting better!</vt:lpstr>
      <vt:lpstr>GenAI use-case @ ZEISS</vt:lpstr>
      <vt:lpstr>New tools coming online every day</vt:lpstr>
      <vt:lpstr>Nov ‘22: GPT 3 landed</vt:lpstr>
      <vt:lpstr>Dec ’24: GPT o1 landed</vt:lpstr>
      <vt:lpstr>”Natural language VIBE coding”</vt:lpstr>
      <vt:lpstr>“Real Time Video Calls”</vt:lpstr>
      <vt:lpstr>There is so much more!</vt:lpstr>
      <vt:lpstr>PowerPoint Presentation</vt:lpstr>
      <vt:lpstr>Why work for a company like ZEISS</vt:lpstr>
      <vt:lpstr>How do you prepare yourself for transitioning into Industry</vt:lpstr>
      <vt:lpstr>PowerPoint Presentation</vt:lpstr>
      <vt:lpstr>How are we upskilling the ZEISS workforce</vt:lpstr>
      <vt:lpstr>PowerPoint Presentation</vt:lpstr>
      <vt:lpstr>Conclusions.</vt:lpstr>
      <vt:lpstr>PowerPoint Presentation</vt:lpstr>
      <vt:lpstr>Why GenAI at ZEISS?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Hoyle, Ben</dc:creator>
  <cp:lastModifiedBy>Hoyle, Ben</cp:lastModifiedBy>
  <cp:revision>5</cp:revision>
  <dcterms:created xsi:type="dcterms:W3CDTF">2025-06-04T13:12:30Z</dcterms:created>
  <dcterms:modified xsi:type="dcterms:W3CDTF">2025-06-06T06:40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DBA7C9CEF7F57429917BEEC53471633</vt:lpwstr>
  </property>
  <property fmtid="{D5CDD505-2E9C-101B-9397-08002B2CF9AE}" pid="3" name="xd_Signature">
    <vt:bool>false</vt:bool>
  </property>
  <property fmtid="{D5CDD505-2E9C-101B-9397-08002B2CF9AE}" pid="4" name="SharedWithUsers">
    <vt:lpwstr>661;#Leoff, Louisa;#659;#Kressirer, Peter;#660;#Roder, Thomas</vt:lpwstr>
  </property>
  <property fmtid="{D5CDD505-2E9C-101B-9397-08002B2CF9AE}" pid="5" name="xd_ProgID">
    <vt:lpwstr/>
  </property>
  <property fmtid="{D5CDD505-2E9C-101B-9397-08002B2CF9AE}" pid="6" name="_SourceUrl">
    <vt:lpwstr/>
  </property>
  <property fmtid="{D5CDD505-2E9C-101B-9397-08002B2CF9AE}" pid="7" name="_SharedFileIndex">
    <vt:lpwstr/>
  </property>
  <property fmtid="{D5CDD505-2E9C-101B-9397-08002B2CF9AE}" pid="8" name="TemplateUrl">
    <vt:lpwstr/>
  </property>
  <property fmtid="{D5CDD505-2E9C-101B-9397-08002B2CF9AE}" pid="9" name="ComplianceAssetId">
    <vt:lpwstr/>
  </property>
  <property fmtid="{D5CDD505-2E9C-101B-9397-08002B2CF9AE}" pid="10" name="_ExtendedDescription">
    <vt:lpwstr/>
  </property>
  <property fmtid="{D5CDD505-2E9C-101B-9397-08002B2CF9AE}" pid="11" name="Order">
    <vt:r8>2300</vt:r8>
  </property>
  <property fmtid="{D5CDD505-2E9C-101B-9397-08002B2CF9AE}" pid="12" name="MediaServiceImageTags">
    <vt:lpwstr/>
  </property>
  <property fmtid="{D5CDD505-2E9C-101B-9397-08002B2CF9AE}" pid="13" name="TriggerFlowInfo">
    <vt:lpwstr/>
  </property>
</Properties>
</file>